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79" r:id="rId2"/>
    <p:sldMasterId id="2147483685" r:id="rId3"/>
  </p:sldMasterIdLst>
  <p:notesMasterIdLst>
    <p:notesMasterId r:id="rId12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</p:sldIdLst>
  <p:sldSz cx="12192000" cy="6858000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Gill Sans" panose="020B0604020202020204" charset="0"/>
      <p:regular r:id="rId17"/>
      <p:bold r:id="rId18"/>
    </p:embeddedFont>
    <p:embeddedFont>
      <p:font typeface="Palatino Linotype" panose="02040502050505030304" pitchFamily="18" charset="0"/>
      <p:regular r:id="rId19"/>
      <p:bold r:id="rId20"/>
      <p:italic r:id="rId21"/>
      <p:boldItalic r:id="rId2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7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3" roundtripDataSignature="AMtx7miMnOZcaxgTh/rYeAsS5IhmeoPF7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90BCF55-C31A-4A19-91E7-3B530979E026}">
  <a:tblStyle styleId="{490BCF55-C31A-4A19-91E7-3B530979E026}" styleName="Table_0">
    <a:wholeTbl>
      <a:tcTxStyle b="off" i="off">
        <a:font>
          <a:latin typeface="Gill Sans MT"/>
          <a:ea typeface="Gill Sans MT"/>
          <a:cs typeface="Gill Sans MT"/>
        </a:font>
        <a:schemeClr val="dk1"/>
      </a:tcTxStyle>
      <a:tcStyle>
        <a:tcBdr>
          <a:left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>
        <p:guide orient="horz" pos="2160"/>
        <p:guide pos="37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9.fntdata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font" Target="fonts/font3.fntdata"/><Relationship Id="rId23" Type="http://customschemas.google.com/relationships/presentationmetadata" Target="metadata"/><Relationship Id="rId10" Type="http://schemas.openxmlformats.org/officeDocument/2006/relationships/slide" Target="slides/slide7.xml"/><Relationship Id="rId19" Type="http://schemas.openxmlformats.org/officeDocument/2006/relationships/font" Target="fonts/font7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2.fntdata"/><Relationship Id="rId22" Type="http://schemas.openxmlformats.org/officeDocument/2006/relationships/font" Target="fonts/font10.fntdata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3" name="Google Shape;45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2" name="Google Shape;462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3" name="Google Shape;463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83" name="Google Shape;48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Google Shape;49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2" name="Google Shape;49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3" name="Google Shape;493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" name="Google Shape;500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1" name="Google Shape;50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0" name="Google Shape;51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Google Shape;517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8" name="Google Shape;518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" name="Google Shape;52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0" name="Google Shape;530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1" name="Google Shape;531;p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Red">
  <p:cSld name="Cover - Full Re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0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0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" name="Google Shape;20;p10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0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>
                <a:solidFill>
                  <a:srgbClr val="FFFFFF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">
  <p:cSld name="Red/White 1 Conten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27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" name="Google Shape;74;p27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7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" name="Google Shape;76;p27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2 Content">
  <p:cSld name="Red/White 2 Conte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28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79" name="Google Shape;79;p28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80" name="Google Shape;80;p28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8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2" name="Google Shape;82;p28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3 Content">
  <p:cSld name="Red/White 3 Conten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9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85" name="Google Shape;85;p29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86" name="Google Shape;86;p29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9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8" name="Google Shape;88;p29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9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 + Bottom Photo">
  <p:cSld name="Red/White 1 Content + Bottom Photo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30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92" name="Google Shape;92;p30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30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30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" name="Google Shape;95;p30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30"/>
          <p:cNvSpPr txBox="1">
            <a:spLocks noGrp="1"/>
          </p:cNvSpPr>
          <p:nvPr>
            <p:ph type="body" idx="3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 + Right Photo">
  <p:cSld name="Red/White 1 Content + Right Photo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31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99" name="Google Shape;99;p3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3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1" name="Google Shape;101;p31"/>
          <p:cNvSpPr txBox="1">
            <a:spLocks noGrp="1"/>
          </p:cNvSpPr>
          <p:nvPr>
            <p:ph type="body" idx="1"/>
          </p:nvPr>
        </p:nvSpPr>
        <p:spPr>
          <a:xfrm>
            <a:off x="914400" y="2057402"/>
            <a:ext cx="4876800" cy="411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" name="Google Shape;102;p31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1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Title Only">
  <p:cSld name="Red/White Title Only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2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06" name="Google Shape;106;p32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32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8" name="Google Shape;108;p32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32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Info">
  <p:cSld name="Contact Info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Google Shape;111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201" y="139700"/>
            <a:ext cx="11785599" cy="6553199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Google Shape;112;p33"/>
          <p:cNvSpPr txBox="1">
            <a:spLocks noGrp="1"/>
          </p:cNvSpPr>
          <p:nvPr>
            <p:ph type="body" idx="1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33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3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5" name="Google Shape;115;p33" descr="USAID_Logo_White_v0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" name="Google Shape;116;p33"/>
          <p:cNvSpPr txBox="1">
            <a:spLocks noGrp="1"/>
          </p:cNvSpPr>
          <p:nvPr>
            <p:ph type="subTitle" idx="2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Blue">
  <p:cSld name="Cover - Full Blue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Google Shape;118;p34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</p:spPr>
      </p:pic>
      <p:sp>
        <p:nvSpPr>
          <p:cNvPr id="119" name="Google Shape;119;p3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3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" name="Google Shape;121;p34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34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>
                <a:solidFill>
                  <a:srgbClr val="FFFFFF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- Full Blue">
  <p:cSld name="Divider - Full Blue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35"/>
          <p:cNvSpPr txBox="1">
            <a:spLocks noGrp="1"/>
          </p:cNvSpPr>
          <p:nvPr>
            <p:ph type="title"/>
          </p:nvPr>
        </p:nvSpPr>
        <p:spPr>
          <a:xfrm>
            <a:off x="1524000" y="827782"/>
            <a:ext cx="731520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35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35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7" name="Google Shape;127;p35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">
  <p:cSld name="Blue/Gray 1 Conten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36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3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3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" name="Google Shape;132;p36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Photo">
  <p:cSld name="Cover - Full Photo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  <a:ln>
            <a:noFill/>
          </a:ln>
        </p:spPr>
      </p:pic>
      <p:sp>
        <p:nvSpPr>
          <p:cNvPr id="24" name="Google Shape;24;p19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9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" name="Google Shape;26;p19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ill Sans"/>
              <a:buNone/>
              <a:defRPr sz="3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9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" name="Google Shape;28;p19"/>
          <p:cNvSpPr txBox="1">
            <a:spLocks noGrp="1"/>
          </p:cNvSpPr>
          <p:nvPr>
            <p:ph type="body" idx="2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None/>
              <a:defRPr sz="6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9" name="Google Shape;29;p19" descr="USAID_Logo_White_v0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2 Content">
  <p:cSld name="Blue/Gray 2 Content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37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35" name="Google Shape;135;p37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36" name="Google Shape;136;p37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37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8" name="Google Shape;138;p37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3 Content">
  <p:cSld name="Blue/Gray 3 Content"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38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41" name="Google Shape;141;p38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42" name="Google Shape;142;p38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" name="Google Shape;143;p38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" name="Google Shape;144;p38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8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 + Bottom Photo">
  <p:cSld name="Blue/Gray 1 Content + Bottom Photo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39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48" name="Google Shape;148;p39"/>
          <p:cNvSpPr txBox="1">
            <a:spLocks noGrp="1"/>
          </p:cNvSpPr>
          <p:nvPr>
            <p:ph type="body" idx="1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" name="Google Shape;149;p39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39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39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2" name="Google Shape;152;p39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 + Right Photo">
  <p:cSld name="Blue/Gray 1 Content + Right Photo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40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55" name="Google Shape;155;p40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40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7" name="Google Shape;157;p40"/>
          <p:cNvSpPr txBox="1">
            <a:spLocks noGrp="1"/>
          </p:cNvSpPr>
          <p:nvPr>
            <p:ph type="body" idx="1"/>
          </p:nvPr>
        </p:nvSpPr>
        <p:spPr>
          <a:xfrm>
            <a:off x="914400" y="2057400"/>
            <a:ext cx="48768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40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40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Title Only">
  <p:cSld name="Blue/Gray Title Only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41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62" name="Google Shape;162;p4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" name="Google Shape;163;p4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4" name="Google Shape;164;p41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41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">
  <p:cSld name="Blue/White 1 Content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42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" name="Google Shape;168;p42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42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" name="Google Shape;170;p4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2 Content">
  <p:cSld name="Blue/White 2 Conten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43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73" name="Google Shape;173;p43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74" name="Google Shape;174;p43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43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6" name="Google Shape;176;p43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3 Content">
  <p:cSld name="Blue/White 3 Conten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44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79" name="Google Shape;179;p44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180" name="Google Shape;180;p44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44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2" name="Google Shape;182;p44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44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 + Bottom Photo">
  <p:cSld name="Blue/White 1 Content + Bottom Photo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45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86" name="Google Shape;186;p45"/>
          <p:cNvSpPr txBox="1">
            <a:spLocks noGrp="1"/>
          </p:cNvSpPr>
          <p:nvPr>
            <p:ph type="body" idx="1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7" name="Google Shape;187;p45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45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p4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0" name="Google Shape;190;p45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 + Right Photo">
  <p:cSld name="Blue/White 1 Content + Right Photo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46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93" name="Google Shape;193;p4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4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5" name="Google Shape;195;p46"/>
          <p:cNvSpPr txBox="1">
            <a:spLocks noGrp="1"/>
          </p:cNvSpPr>
          <p:nvPr>
            <p:ph type="body" idx="1"/>
          </p:nvPr>
        </p:nvSpPr>
        <p:spPr>
          <a:xfrm>
            <a:off x="914400" y="2057400"/>
            <a:ext cx="48768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" name="Google Shape;196;p46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" name="Google Shape;197;p46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- Full Red" type="titleOnly">
  <p:cSld name="TITLE_ONLY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0"/>
          <p:cNvSpPr txBox="1">
            <a:spLocks noGrp="1"/>
          </p:cNvSpPr>
          <p:nvPr>
            <p:ph type="title"/>
          </p:nvPr>
        </p:nvSpPr>
        <p:spPr>
          <a:xfrm>
            <a:off x="1524000" y="827782"/>
            <a:ext cx="731520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20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20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Title + Left Photo">
  <p:cSld name="Blue/White Title + Left Photo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47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00" name="Google Shape;200;p47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p47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" name="Google Shape;202;p47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3" name="Google Shape;203;p47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">
  <p:cSld name="Red/Gray 1 Content">
    <p:bg>
      <p:bgPr>
        <a:solidFill>
          <a:srgbClr val="E7E7E5"/>
        </a:solidFill>
        <a:effectLst/>
      </p:bgPr>
    </p:bg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2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12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12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6" name="Google Shape;216;p1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Photo">
  <p:cSld name="Cover - Full Photo">
    <p:bg>
      <p:bgPr>
        <a:solidFill>
          <a:schemeClr val="dk1"/>
        </a:solidFill>
        <a:effectLst/>
      </p:bgPr>
    </p:bg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218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  <a:ln>
            <a:noFill/>
          </a:ln>
        </p:spPr>
      </p:pic>
      <p:sp>
        <p:nvSpPr>
          <p:cNvPr id="219" name="Google Shape;219;p15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0" name="Google Shape;220;p1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1" name="Google Shape;221;p15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ill Sans"/>
              <a:buNone/>
              <a:defRPr sz="3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15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23" name="Google Shape;223;p15"/>
          <p:cNvSpPr txBox="1">
            <a:spLocks noGrp="1"/>
          </p:cNvSpPr>
          <p:nvPr>
            <p:ph type="body" idx="2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None/>
              <a:defRPr sz="6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24" name="Google Shape;224;p15" descr="USAID_Logo_White_v0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Red">
  <p:cSld name="Cover - Full Red">
    <p:bg>
      <p:bgPr>
        <a:solidFill>
          <a:srgbClr val="BA0C2F"/>
        </a:solidFill>
        <a:effectLst/>
      </p:bgPr>
    </p:bg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6" name="Google Shape;226;p16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1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1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9" name="Google Shape;229;p16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0" name="Google Shape;230;p16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>
                <a:solidFill>
                  <a:srgbClr val="FFFFFF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- Full Red" type="titleOnly">
  <p:cSld name="TITLE_ONLY">
    <p:bg>
      <p:bgPr>
        <a:solidFill>
          <a:srgbClr val="BA0C2F"/>
        </a:solidFill>
        <a:effectLst/>
      </p:bgPr>
    </p:bg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17"/>
          <p:cNvSpPr txBox="1">
            <a:spLocks noGrp="1"/>
          </p:cNvSpPr>
          <p:nvPr>
            <p:ph type="title"/>
          </p:nvPr>
        </p:nvSpPr>
        <p:spPr>
          <a:xfrm>
            <a:off x="1524000" y="827782"/>
            <a:ext cx="731520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17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17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35" name="Google Shape;235;p17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18"/>
          <p:cNvSpPr txBox="1"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18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18"/>
          <p:cNvSpPr txBox="1">
            <a:spLocks noGrp="1"/>
          </p:cNvSpPr>
          <p:nvPr>
            <p:ph type="ftr" idx="11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18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">
  <p:cSld name="Blue/Gray 1 Content">
    <p:bg>
      <p:bgPr>
        <a:solidFill>
          <a:srgbClr val="E7E7E5"/>
        </a:solidFill>
        <a:effectLst/>
      </p:bgPr>
    </p:bg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14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" name="Google Shape;250;p1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" name="Google Shape;251;p1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2" name="Google Shape;252;p14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Photo">
  <p:cSld name="Cover - Full Photo">
    <p:bg>
      <p:bgPr>
        <a:solidFill>
          <a:schemeClr val="dk1"/>
        </a:solidFill>
        <a:effectLst/>
      </p:bgPr>
    </p:bg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Google Shape;254;p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  <a:ln>
            <a:noFill/>
          </a:ln>
        </p:spPr>
      </p:pic>
      <p:sp>
        <p:nvSpPr>
          <p:cNvPr id="255" name="Google Shape;255;p48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48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7" name="Google Shape;257;p48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ill Sans"/>
              <a:buNone/>
              <a:defRPr sz="3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48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59" name="Google Shape;259;p48"/>
          <p:cNvSpPr txBox="1">
            <a:spLocks noGrp="1"/>
          </p:cNvSpPr>
          <p:nvPr>
            <p:ph type="body" idx="2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"/>
              <a:buNone/>
              <a:defRPr sz="6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60" name="Google Shape;260;p48" descr="USAID_Logo_White_v0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20000"/>
              </a:srgbClr>
            </a:outerShdw>
          </a:effectLst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Red">
  <p:cSld name="Cover - Full Red">
    <p:bg>
      <p:bgPr>
        <a:solidFill>
          <a:srgbClr val="BA0C2F"/>
        </a:solidFill>
        <a:effectLst/>
      </p:bgPr>
    </p:bg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" name="Google Shape;262;p49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</p:spPr>
      </p:pic>
      <p:sp>
        <p:nvSpPr>
          <p:cNvPr id="263" name="Google Shape;263;p49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" name="Google Shape;264;p49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5" name="Google Shape;265;p49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49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>
                <a:solidFill>
                  <a:srgbClr val="FFFFFF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- Full Red" type="titleOnly">
  <p:cSld name="TITLE_ONLY">
    <p:bg>
      <p:bgPr>
        <a:solidFill>
          <a:srgbClr val="BA0C2F"/>
        </a:solidFill>
        <a:effectLst/>
      </p:bgPr>
    </p:bg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50"/>
          <p:cNvSpPr txBox="1">
            <a:spLocks noGrp="1"/>
          </p:cNvSpPr>
          <p:nvPr>
            <p:ph type="title"/>
          </p:nvPr>
        </p:nvSpPr>
        <p:spPr>
          <a:xfrm>
            <a:off x="1524000" y="827782"/>
            <a:ext cx="731520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9" name="Google Shape;269;p50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50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71" name="Google Shape;271;p50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">
  <p:cSld name="Red/Gray 1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21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" name="Google Shape;36;p2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" name="Google Shape;38;p21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">
  <p:cSld name="Red/Gray 1 Content">
    <p:bg>
      <p:bgPr>
        <a:solidFill>
          <a:srgbClr val="E7E7E5"/>
        </a:solidFill>
        <a:effectLst/>
      </p:bgPr>
    </p:bg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51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4" name="Google Shape;274;p5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5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6" name="Google Shape;276;p51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2 Content">
  <p:cSld name="Red/Gray 2 Content">
    <p:bg>
      <p:bgPr>
        <a:solidFill>
          <a:srgbClr val="E7E7E5"/>
        </a:solidFill>
        <a:effectLst/>
      </p:bgPr>
    </p:bg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52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279" name="Google Shape;279;p52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280" name="Google Shape;280;p52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" name="Google Shape;281;p52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2" name="Google Shape;282;p5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3 Content">
  <p:cSld name="Red/Gray 3 Content">
    <p:bg>
      <p:bgPr>
        <a:solidFill>
          <a:srgbClr val="E7E7E5"/>
        </a:solidFill>
        <a:effectLst/>
      </p:bgPr>
    </p:bg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53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285" name="Google Shape;285;p53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286" name="Google Shape;286;p53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53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8" name="Google Shape;288;p53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53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 + Bottom Photo">
  <p:cSld name="Red/Gray 1 Content + Bottom Photo">
    <p:bg>
      <p:bgPr>
        <a:solidFill>
          <a:srgbClr val="E7E7E5"/>
        </a:solidFill>
        <a:effectLst/>
      </p:bgPr>
    </p:bg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54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92" name="Google Shape;292;p54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5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5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5" name="Google Shape;295;p54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" name="Google Shape;296;p54"/>
          <p:cNvSpPr txBox="1">
            <a:spLocks noGrp="1"/>
          </p:cNvSpPr>
          <p:nvPr>
            <p:ph type="body" idx="3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 + Right Photo">
  <p:cSld name="Red/Gray 1 Content + Right Photo">
    <p:bg>
      <p:bgPr>
        <a:solidFill>
          <a:srgbClr val="E7E7E5"/>
        </a:solidFill>
        <a:effectLst/>
      </p:bgPr>
    </p:bg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55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99" name="Google Shape;299;p55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5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1" name="Google Shape;301;p55"/>
          <p:cNvSpPr txBox="1">
            <a:spLocks noGrp="1"/>
          </p:cNvSpPr>
          <p:nvPr>
            <p:ph type="body" idx="1"/>
          </p:nvPr>
        </p:nvSpPr>
        <p:spPr>
          <a:xfrm>
            <a:off x="914400" y="2057402"/>
            <a:ext cx="4876800" cy="411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2" name="Google Shape;302;p55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55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Title Only">
  <p:cSld name="Red/Gray Title Only">
    <p:bg>
      <p:bgPr>
        <a:solidFill>
          <a:srgbClr val="E7E7E5"/>
        </a:solidFill>
        <a:effectLst/>
      </p:bgPr>
    </p:bg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56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06" name="Google Shape;306;p5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5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8" name="Google Shape;308;p56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" name="Google Shape;309;p56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">
  <p:cSld name="Red/White 1 Content">
    <p:bg>
      <p:bgPr>
        <a:solidFill>
          <a:schemeClr val="lt1"/>
        </a:solidFill>
        <a:effectLst/>
      </p:bgPr>
    </p:bg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57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57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3" name="Google Shape;313;p57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4" name="Google Shape;314;p57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2 Content">
  <p:cSld name="Red/White 2 Content">
    <p:bg>
      <p:bgPr>
        <a:solidFill>
          <a:schemeClr val="lt1"/>
        </a:solidFill>
        <a:effectLst/>
      </p:bgPr>
    </p:bg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8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17" name="Google Shape;317;p58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18" name="Google Shape;318;p58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p58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0" name="Google Shape;320;p58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3 Content">
  <p:cSld name="Red/White 3 Content">
    <p:bg>
      <p:bgPr>
        <a:solidFill>
          <a:schemeClr val="lt1"/>
        </a:solidFill>
        <a:effectLst/>
      </p:bgPr>
    </p:bg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59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23" name="Google Shape;323;p59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24" name="Google Shape;324;p59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59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6" name="Google Shape;326;p59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59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 + Bottom Photo">
  <p:cSld name="Red/White 1 Content + Bottom Photo">
    <p:bg>
      <p:bgPr>
        <a:solidFill>
          <a:schemeClr val="lt1"/>
        </a:solidFill>
        <a:effectLst/>
      </p:bgPr>
    </p:bg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p60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30" name="Google Shape;330;p60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60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2" name="Google Shape;332;p60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3" name="Google Shape;333;p60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p60"/>
          <p:cNvSpPr txBox="1">
            <a:spLocks noGrp="1"/>
          </p:cNvSpPr>
          <p:nvPr>
            <p:ph type="body" idx="3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2 Content">
  <p:cSld name="Red/Gray 2 Conte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2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1" name="Google Shape;41;p22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2" name="Google Shape;42;p22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2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" name="Google Shape;44;p2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1 Content + Right Photo">
  <p:cSld name="Red/White 1 Content + Right Photo">
    <p:bg>
      <p:bgPr>
        <a:solidFill>
          <a:schemeClr val="lt1"/>
        </a:solidFill>
        <a:effectLst/>
      </p:bgPr>
    </p:bg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61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37" name="Google Shape;337;p6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" name="Google Shape;338;p6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9" name="Google Shape;339;p61"/>
          <p:cNvSpPr txBox="1">
            <a:spLocks noGrp="1"/>
          </p:cNvSpPr>
          <p:nvPr>
            <p:ph type="body" idx="1"/>
          </p:nvPr>
        </p:nvSpPr>
        <p:spPr>
          <a:xfrm>
            <a:off x="914400" y="2057402"/>
            <a:ext cx="4876800" cy="411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61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61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White Title Only">
  <p:cSld name="Red/White Title Only">
    <p:bg>
      <p:bgPr>
        <a:solidFill>
          <a:schemeClr val="lt1"/>
        </a:solidFill>
        <a:effectLst/>
      </p:bgPr>
    </p:bg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62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44" name="Google Shape;344;p62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62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6" name="Google Shape;346;p62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" name="Google Shape;347;p62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Info">
  <p:cSld name="Contact Info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9" name="Google Shape;349;p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3201" y="126998"/>
            <a:ext cx="11785599" cy="6578603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63"/>
          <p:cNvSpPr txBox="1">
            <a:spLocks noGrp="1"/>
          </p:cNvSpPr>
          <p:nvPr>
            <p:ph type="body" idx="1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1" name="Google Shape;351;p63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63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53" name="Google Shape;353;p63" descr="USAID_Logo_White_v02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  <p:sp>
        <p:nvSpPr>
          <p:cNvPr id="354" name="Google Shape;354;p63"/>
          <p:cNvSpPr txBox="1">
            <a:spLocks noGrp="1"/>
          </p:cNvSpPr>
          <p:nvPr>
            <p:ph type="subTitle" idx="2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  <a:effectLst>
            <a:outerShdw blurRad="254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- Full Blue">
  <p:cSld name="Cover - Full Blue">
    <p:bg>
      <p:bgPr>
        <a:solidFill>
          <a:srgbClr val="002F6C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6" name="Google Shape;356;p64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1740" y="685800"/>
            <a:ext cx="2438400" cy="544010"/>
          </a:xfrm>
          <a:prstGeom prst="rect">
            <a:avLst/>
          </a:prstGeom>
          <a:noFill/>
          <a:ln>
            <a:noFill/>
          </a:ln>
        </p:spPr>
      </p:pic>
      <p:sp>
        <p:nvSpPr>
          <p:cNvPr id="357" name="Google Shape;357;p6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" name="Google Shape;358;p6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9" name="Google Shape;359;p64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0" name="Google Shape;360;p64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1800">
                <a:solidFill>
                  <a:srgbClr val="FFFFFF"/>
                </a:solidFill>
              </a:defRPr>
            </a:lvl1pPr>
            <a:lvl2pPr lvl="1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12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- Full Blue">
  <p:cSld name="Divider - Full Blue">
    <p:bg>
      <p:bgPr>
        <a:solidFill>
          <a:srgbClr val="002F6C"/>
        </a:solidFill>
        <a:effectLst/>
      </p:bgPr>
    </p:bg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65"/>
          <p:cNvSpPr txBox="1">
            <a:spLocks noGrp="1"/>
          </p:cNvSpPr>
          <p:nvPr>
            <p:ph type="title"/>
          </p:nvPr>
        </p:nvSpPr>
        <p:spPr>
          <a:xfrm>
            <a:off x="1524000" y="827782"/>
            <a:ext cx="731520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Gill Sans"/>
              <a:buNone/>
              <a:defRPr sz="320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" name="Google Shape;363;p65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65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65" name="Google Shape;365;p65" descr="USAID_Logo_White_v02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4400" y="5943600"/>
            <a:ext cx="2049293" cy="4572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2 Content">
  <p:cSld name="Blue/Gray 2 Content"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66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68" name="Google Shape;368;p66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69" name="Google Shape;369;p66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66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1" name="Google Shape;371;p66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3 Content">
  <p:cSld name="Blue/Gray 3 Content">
    <p:bg>
      <p:bgPr>
        <a:solidFill>
          <a:srgbClr val="E7E7E5"/>
        </a:solidFill>
        <a:effectLst/>
      </p:bgPr>
    </p:bg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Google Shape;373;p67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74" name="Google Shape;374;p67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75" name="Google Shape;375;p67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" name="Google Shape;376;p67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7" name="Google Shape;377;p67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p67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 + Bottom Photo">
  <p:cSld name="Blue/Gray 1 Content + Bottom Photo">
    <p:bg>
      <p:bgPr>
        <a:solidFill>
          <a:srgbClr val="E7E7E5"/>
        </a:solidFill>
        <a:effectLst/>
      </p:bgPr>
    </p:bg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68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81" name="Google Shape;381;p68"/>
          <p:cNvSpPr txBox="1">
            <a:spLocks noGrp="1"/>
          </p:cNvSpPr>
          <p:nvPr>
            <p:ph type="body" idx="1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p68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" name="Google Shape;383;p68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" name="Google Shape;384;p68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" name="Google Shape;385;p68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1 Content + Right Photo">
  <p:cSld name="Blue/Gray 1 Content + Right Photo">
    <p:bg>
      <p:bgPr>
        <a:solidFill>
          <a:srgbClr val="E7E7E5"/>
        </a:solidFill>
        <a:effectLst/>
      </p:bgPr>
    </p:bg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9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88" name="Google Shape;388;p69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69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0" name="Google Shape;390;p69"/>
          <p:cNvSpPr txBox="1">
            <a:spLocks noGrp="1"/>
          </p:cNvSpPr>
          <p:nvPr>
            <p:ph type="body" idx="1"/>
          </p:nvPr>
        </p:nvSpPr>
        <p:spPr>
          <a:xfrm>
            <a:off x="914400" y="2057400"/>
            <a:ext cx="48768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69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69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Gray Title Only">
  <p:cSld name="Blue/Gray Title Only">
    <p:bg>
      <p:bgPr>
        <a:solidFill>
          <a:srgbClr val="E7E7E5"/>
        </a:solidFill>
        <a:effectLst/>
      </p:bgPr>
    </p:bg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70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395" name="Google Shape;395;p70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70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7" name="Google Shape;397;p70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" name="Google Shape;398;p70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3 Content">
  <p:cSld name="Red/Gray 3 Conten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3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7" name="Google Shape;47;p23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8" name="Google Shape;48;p23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3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" name="Google Shape;50;p23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3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">
  <p:cSld name="Blue/White 1 Content">
    <p:bg>
      <p:bgPr>
        <a:solidFill>
          <a:schemeClr val="lt1"/>
        </a:solidFill>
        <a:effectLst/>
      </p:bgPr>
    </p:bg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71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1" name="Google Shape;401;p71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2" name="Google Shape;402;p7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3" name="Google Shape;403;p71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2 Content">
  <p:cSld name="Blue/White 2 Content">
    <p:bg>
      <p:bgPr>
        <a:solidFill>
          <a:schemeClr val="lt1"/>
        </a:solidFill>
        <a:effectLst/>
      </p:bgPr>
    </p:bg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72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50795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06" name="Google Shape;406;p72"/>
          <p:cNvSpPr txBox="1">
            <a:spLocks noGrp="1"/>
          </p:cNvSpPr>
          <p:nvPr>
            <p:ph type="body" idx="2"/>
          </p:nvPr>
        </p:nvSpPr>
        <p:spPr>
          <a:xfrm>
            <a:off x="6197600" y="1600200"/>
            <a:ext cx="50804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»"/>
              <a:defRPr sz="1600">
                <a:solidFill>
                  <a:srgbClr val="6C6463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07" name="Google Shape;407;p72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" name="Google Shape;408;p72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9" name="Google Shape;409;p7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3 Content">
  <p:cSld name="Blue/White 3 Content">
    <p:bg>
      <p:bgPr>
        <a:solidFill>
          <a:schemeClr val="lt1"/>
        </a:solidFill>
        <a:effectLst/>
      </p:bgPr>
    </p:bg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73"/>
          <p:cNvSpPr txBox="1">
            <a:spLocks noGrp="1"/>
          </p:cNvSpPr>
          <p:nvPr>
            <p:ph type="body" idx="1"/>
          </p:nvPr>
        </p:nvSpPr>
        <p:spPr>
          <a:xfrm>
            <a:off x="914805" y="1600200"/>
            <a:ext cx="335239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12" name="Google Shape;412;p73"/>
          <p:cNvSpPr txBox="1">
            <a:spLocks noGrp="1"/>
          </p:cNvSpPr>
          <p:nvPr>
            <p:ph type="body" idx="2"/>
          </p:nvPr>
        </p:nvSpPr>
        <p:spPr>
          <a:xfrm>
            <a:off x="7924800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413" name="Google Shape;413;p73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6C6463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" name="Google Shape;414;p73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5" name="Google Shape;415;p73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" name="Google Shape;416;p73"/>
          <p:cNvSpPr txBox="1">
            <a:spLocks noGrp="1"/>
          </p:cNvSpPr>
          <p:nvPr>
            <p:ph type="body" idx="3"/>
          </p:nvPr>
        </p:nvSpPr>
        <p:spPr>
          <a:xfrm>
            <a:off x="4419398" y="1600200"/>
            <a:ext cx="3353205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rgbClr val="FFFFFF"/>
              </a:buClr>
              <a:buSzPts val="1600"/>
              <a:buChar char="»"/>
              <a:defRPr sz="1600"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 + Bottom Photo">
  <p:cSld name="Blue/White 1 Content + Bottom Photo">
    <p:bg>
      <p:bgPr>
        <a:solidFill>
          <a:schemeClr val="lt1"/>
        </a:solidFill>
        <a:effectLst/>
      </p:bgPr>
    </p:bg>
    <p:spTree>
      <p:nvGrpSpPr>
        <p:cNvPr id="1" name="Shape 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Google Shape;418;p74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419" name="Google Shape;419;p74"/>
          <p:cNvSpPr txBox="1">
            <a:spLocks noGrp="1"/>
          </p:cNvSpPr>
          <p:nvPr>
            <p:ph type="body" idx="1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" name="Google Shape;420;p74"/>
          <p:cNvSpPr txBox="1">
            <a:spLocks noGrp="1"/>
          </p:cNvSpPr>
          <p:nvPr>
            <p:ph type="body" idx="3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" name="Google Shape;421;p7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" name="Google Shape;422;p7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3" name="Google Shape;423;p74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1 Content + Right Photo">
  <p:cSld name="Blue/White 1 Content + Right Photo">
    <p:bg>
      <p:bgPr>
        <a:solidFill>
          <a:schemeClr val="lt1"/>
        </a:solidFill>
        <a:effectLst/>
      </p:bgPr>
    </p:bg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75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426" name="Google Shape;426;p75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7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8" name="Google Shape;428;p75"/>
          <p:cNvSpPr txBox="1">
            <a:spLocks noGrp="1"/>
          </p:cNvSpPr>
          <p:nvPr>
            <p:ph type="body" idx="1"/>
          </p:nvPr>
        </p:nvSpPr>
        <p:spPr>
          <a:xfrm>
            <a:off x="914400" y="2057400"/>
            <a:ext cx="48768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" name="Google Shape;429;p75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75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/White Title + Left Photo">
  <p:cSld name="Blue/White Title + Left Photo">
    <p:bg>
      <p:bgPr>
        <a:solidFill>
          <a:schemeClr val="lt1"/>
        </a:solidFill>
        <a:effectLst/>
      </p:bgPr>
    </p:bg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76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E7E7E5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433" name="Google Shape;433;p7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7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5" name="Google Shape;435;p76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6" name="Google Shape;436;p76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67B9"/>
              </a:buClr>
              <a:buSzPts val="2800"/>
              <a:buFont typeface="Gill Sans"/>
              <a:buNone/>
              <a:defRPr>
                <a:solidFill>
                  <a:srgbClr val="0067B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een Bar_Title and Content">
  <p:cSld name="Green Bar_Title and Content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ill Sans"/>
              <a:buNone/>
            </a:pPr>
            <a:endParaRPr sz="1800" b="0" i="0" u="none" strike="noStrike" cap="none">
              <a:solidFill>
                <a:schemeClr val="dk1"/>
              </a:solidFill>
              <a:latin typeface="Palatino Linotype"/>
              <a:ea typeface="Palatino Linotype"/>
              <a:cs typeface="Palatino Linotype"/>
              <a:sym typeface="Palatino Linotype"/>
            </a:endParaRPr>
          </a:p>
        </p:txBody>
      </p:sp>
      <p:cxnSp>
        <p:nvCxnSpPr>
          <p:cNvPr id="439" name="Google Shape;439;p77"/>
          <p:cNvCxnSpPr/>
          <p:nvPr/>
        </p:nvCxnSpPr>
        <p:spPr>
          <a:xfrm>
            <a:off x="304802" y="6250077"/>
            <a:ext cx="11592985" cy="0"/>
          </a:xfrm>
          <a:prstGeom prst="straightConnector1">
            <a:avLst/>
          </a:prstGeom>
          <a:noFill/>
          <a:ln w="9525" cap="flat" cmpd="sng">
            <a:solidFill>
              <a:srgbClr val="5557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40" name="Google Shape;440;p77"/>
          <p:cNvSpPr txBox="1"/>
          <p:nvPr/>
        </p:nvSpPr>
        <p:spPr>
          <a:xfrm>
            <a:off x="182020" y="6365442"/>
            <a:ext cx="478315" cy="23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Gill Sans"/>
              <a:buNone/>
            </a:pPr>
            <a:fld id="{00000000-1234-1234-1234-123412341234}" type="slidenum">
              <a:rPr lang="en-US" sz="900" b="0" i="0" u="none" strike="noStrike" cap="none">
                <a:solidFill>
                  <a:srgbClr val="95D600"/>
                </a:solidFill>
                <a:latin typeface="Gill Sans"/>
                <a:ea typeface="Gill Sans"/>
                <a:cs typeface="Gill Sans"/>
                <a:sym typeface="Gill Sans"/>
              </a:rPr>
              <a:t>‹#›</a:t>
            </a:fld>
            <a:endParaRPr sz="900" b="0" i="0" u="none" strike="noStrike" cap="none">
              <a:solidFill>
                <a:srgbClr val="898C8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cxnSp>
        <p:nvCxnSpPr>
          <p:cNvPr id="441" name="Google Shape;441;p77"/>
          <p:cNvCxnSpPr/>
          <p:nvPr/>
        </p:nvCxnSpPr>
        <p:spPr>
          <a:xfrm rot="10800000">
            <a:off x="0" y="6302465"/>
            <a:ext cx="12192000" cy="0"/>
          </a:xfrm>
          <a:prstGeom prst="straightConnector1">
            <a:avLst/>
          </a:prstGeom>
          <a:solidFill>
            <a:schemeClr val="accent1"/>
          </a:solidFill>
          <a:ln>
            <a:noFill/>
          </a:ln>
        </p:spPr>
      </p:cxnSp>
      <p:sp>
        <p:nvSpPr>
          <p:cNvPr id="442" name="Google Shape;442;p77"/>
          <p:cNvSpPr txBox="1">
            <a:spLocks noGrp="1"/>
          </p:cNvSpPr>
          <p:nvPr>
            <p:ph type="body" idx="1"/>
          </p:nvPr>
        </p:nvSpPr>
        <p:spPr>
          <a:xfrm>
            <a:off x="287453" y="1262358"/>
            <a:ext cx="11623035" cy="4906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3" name="Google Shape;443;p77"/>
          <p:cNvSpPr/>
          <p:nvPr/>
        </p:nvSpPr>
        <p:spPr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ill Sans"/>
              <a:buNone/>
            </a:pPr>
            <a:endParaRPr sz="1800" b="0" i="0" u="none" strike="noStrike" cap="none">
              <a:solidFill>
                <a:schemeClr val="dk1"/>
              </a:solidFill>
              <a:latin typeface="Palatino Linotype"/>
              <a:ea typeface="Palatino Linotype"/>
              <a:cs typeface="Palatino Linotype"/>
              <a:sym typeface="Palatino Linotype"/>
            </a:endParaRPr>
          </a:p>
        </p:txBody>
      </p:sp>
      <p:sp>
        <p:nvSpPr>
          <p:cNvPr id="444" name="Google Shape;444;p77"/>
          <p:cNvSpPr txBox="1"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Gill Sans"/>
              <a:buNone/>
              <a:defRPr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" name="Google Shape;445;p77"/>
          <p:cNvSpPr txBox="1"/>
          <p:nvPr/>
        </p:nvSpPr>
        <p:spPr>
          <a:xfrm>
            <a:off x="412682" y="6370117"/>
            <a:ext cx="7770501" cy="20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Gill Sans"/>
              <a:buNone/>
            </a:pPr>
            <a:r>
              <a:rPr lang="en-US" sz="900" b="0" i="0" u="none" strike="noStrike" cap="none">
                <a:solidFill>
                  <a:srgbClr val="0D76FF"/>
                </a:solidFill>
                <a:latin typeface="Gill Sans"/>
                <a:ea typeface="Gill Sans"/>
                <a:cs typeface="Gill Sans"/>
                <a:sym typeface="Gill Sans"/>
              </a:rPr>
              <a:t>/ ©ECOFYS, A NAVIGANT – A GUIDEHOUSE COMPANY COMPANY. ALL RIGHTS RESERVED</a:t>
            </a:r>
            <a:endParaRPr sz="900" b="0" i="0" u="none" strike="noStrike" cap="none">
              <a:solidFill>
                <a:srgbClr val="0D76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pic>
        <p:nvPicPr>
          <p:cNvPr id="446" name="Google Shape;446;p77" descr="Mission_Statement_RGB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Google Shape;448;p78"/>
          <p:cNvSpPr txBox="1">
            <a:spLocks noGrp="1"/>
          </p:cNvSpPr>
          <p:nvPr>
            <p:ph type="body" idx="1"/>
          </p:nvPr>
        </p:nvSpPr>
        <p:spPr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  <a:defRPr>
                <a:latin typeface="Gill Sans"/>
                <a:ea typeface="Gill Sans"/>
                <a:cs typeface="Gill Sans"/>
                <a:sym typeface="Gill Sans"/>
              </a:defRPr>
            </a:lvl1pPr>
            <a:lvl2pPr marL="914400" lvl="1" indent="-355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Char char="–"/>
              <a:defRPr>
                <a:latin typeface="Gill Sans"/>
                <a:ea typeface="Gill Sans"/>
                <a:cs typeface="Gill Sans"/>
                <a:sym typeface="Gill Sans"/>
              </a:defRPr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latin typeface="Gill Sans"/>
                <a:ea typeface="Gill Sans"/>
                <a:cs typeface="Gill Sans"/>
                <a:sym typeface="Gill Sans"/>
              </a:defRPr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latin typeface="Gill Sans"/>
                <a:ea typeface="Gill Sans"/>
                <a:cs typeface="Gill Sans"/>
                <a:sym typeface="Gill Sans"/>
              </a:defRPr>
            </a:lvl4pPr>
            <a:lvl5pPr marL="2286000" lvl="4" indent="-3175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»"/>
              <a:defRPr>
                <a:latin typeface="Gill Sans"/>
                <a:ea typeface="Gill Sans"/>
                <a:cs typeface="Gill Sans"/>
                <a:sym typeface="Gill Sans"/>
              </a:defRPr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78"/>
          <p:cNvSpPr txBox="1">
            <a:spLocks noGrp="1"/>
          </p:cNvSpPr>
          <p:nvPr>
            <p:ph type="title"/>
          </p:nvPr>
        </p:nvSpPr>
        <p:spPr>
          <a:xfrm>
            <a:off x="287453" y="1"/>
            <a:ext cx="11625600" cy="10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78"/>
          <p:cNvSpPr txBox="1">
            <a:spLocks noGrp="1"/>
          </p:cNvSpPr>
          <p:nvPr>
            <p:ph type="body" idx="2"/>
          </p:nvPr>
        </p:nvSpPr>
        <p:spPr>
          <a:xfrm>
            <a:off x="287453" y="6046048"/>
            <a:ext cx="116256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800"/>
              <a:buNone/>
              <a:defRPr sz="800">
                <a:latin typeface="Gill Sans"/>
                <a:ea typeface="Gill Sans"/>
                <a:cs typeface="Gill Sans"/>
                <a:sym typeface="Gill Sans"/>
              </a:defRPr>
            </a:lvl1pPr>
            <a:lvl2pPr marL="914400" lvl="1" indent="-355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Char char="–"/>
              <a:defRPr>
                <a:latin typeface="Gill Sans"/>
                <a:ea typeface="Gill Sans"/>
                <a:cs typeface="Gill Sans"/>
                <a:sym typeface="Gill Sans"/>
              </a:defRPr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latin typeface="Gill Sans"/>
                <a:ea typeface="Gill Sans"/>
                <a:cs typeface="Gill Sans"/>
                <a:sym typeface="Gill Sans"/>
              </a:defRPr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latin typeface="Gill Sans"/>
                <a:ea typeface="Gill Sans"/>
                <a:cs typeface="Gill Sans"/>
                <a:sym typeface="Gill Sans"/>
              </a:defRPr>
            </a:lvl4pPr>
            <a:lvl5pPr marL="2286000" lvl="4" indent="-3175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»"/>
              <a:defRPr>
                <a:latin typeface="Gill Sans"/>
                <a:ea typeface="Gill Sans"/>
                <a:cs typeface="Gill Sans"/>
                <a:sym typeface="Gill Sans"/>
              </a:defRPr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 + Bottom Photo">
  <p:cSld name="Red/Gray 1 Content + Bottom Photo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24"/>
          <p:cNvSpPr>
            <a:spLocks noGrp="1"/>
          </p:cNvSpPr>
          <p:nvPr>
            <p:ph type="pic" idx="2"/>
          </p:nvPr>
        </p:nvSpPr>
        <p:spPr>
          <a:xfrm>
            <a:off x="203200" y="3429000"/>
            <a:ext cx="11785600" cy="32766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54" name="Google Shape;54;p24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>
                <a:solidFill>
                  <a:srgbClr val="6C6463"/>
                </a:solidFill>
              </a:defRPr>
            </a:lvl1pPr>
            <a:lvl2pPr marL="914400" lvl="1" indent="-3556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2000"/>
              <a:buChar char="–"/>
              <a:defRPr>
                <a:solidFill>
                  <a:srgbClr val="6C6463"/>
                </a:solidFill>
              </a:defRPr>
            </a:lvl2pPr>
            <a:lvl3pPr marL="1371600" lvl="2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  <a:defRPr>
                <a:solidFill>
                  <a:srgbClr val="6C6463"/>
                </a:solidFill>
              </a:defRPr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Char char="–"/>
              <a:defRPr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24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4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7" name="Google Shape;57;p24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24"/>
          <p:cNvSpPr txBox="1">
            <a:spLocks noGrp="1"/>
          </p:cNvSpPr>
          <p:nvPr>
            <p:ph type="body" idx="3"/>
          </p:nvPr>
        </p:nvSpPr>
        <p:spPr>
          <a:xfrm rot="-5400000">
            <a:off x="10494089" y="47082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1 Content + Right Photo">
  <p:cSld name="Red/Gray 1 Content + Right Photo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5"/>
          <p:cNvSpPr>
            <a:spLocks noGrp="1"/>
          </p:cNvSpPr>
          <p:nvPr>
            <p:ph type="pic" idx="2"/>
          </p:nvPr>
        </p:nvSpPr>
        <p:spPr>
          <a:xfrm>
            <a:off x="60960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61" name="Google Shape;61;p25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" name="Google Shape;63;p25"/>
          <p:cNvSpPr txBox="1">
            <a:spLocks noGrp="1"/>
          </p:cNvSpPr>
          <p:nvPr>
            <p:ph type="body" idx="1"/>
          </p:nvPr>
        </p:nvSpPr>
        <p:spPr>
          <a:xfrm>
            <a:off x="914400" y="2057402"/>
            <a:ext cx="4876800" cy="411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55600" algn="l">
              <a:spcBef>
                <a:spcPts val="0"/>
              </a:spcBef>
              <a:spcAft>
                <a:spcPts val="0"/>
              </a:spcAft>
              <a:buClr>
                <a:srgbClr val="6C6463"/>
              </a:buClr>
              <a:buSzPts val="2000"/>
              <a:buChar char="•"/>
              <a:defRPr sz="2000">
                <a:solidFill>
                  <a:srgbClr val="6C6463"/>
                </a:solidFill>
              </a:defRPr>
            </a:lvl1pPr>
            <a:lvl2pPr marL="914400" lvl="1" indent="-3429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Char char="–"/>
              <a:defRPr sz="1800">
                <a:solidFill>
                  <a:srgbClr val="6C6463"/>
                </a:solidFill>
              </a:defRPr>
            </a:lvl2pPr>
            <a:lvl3pPr marL="1371600" lvl="2" indent="-330200" algn="l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600"/>
              <a:buChar char="•"/>
              <a:defRPr sz="1600">
                <a:solidFill>
                  <a:srgbClr val="6C6463"/>
                </a:solidFill>
              </a:defRPr>
            </a:lvl3pPr>
            <a:lvl4pPr marL="1828800" lvl="3" indent="-317500" algn="l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Char char="–"/>
              <a:defRPr sz="1400">
                <a:solidFill>
                  <a:srgbClr val="6C6463"/>
                </a:solidFill>
              </a:defRPr>
            </a:lvl4pPr>
            <a:lvl5pPr marL="2286000" lvl="4" indent="-317500" algn="l">
              <a:spcBef>
                <a:spcPts val="280"/>
              </a:spcBef>
              <a:spcAft>
                <a:spcPts val="0"/>
              </a:spcAft>
              <a:buClr>
                <a:srgbClr val="FFFFFF"/>
              </a:buClr>
              <a:buSzPts val="1400"/>
              <a:buChar char="»"/>
              <a:defRPr>
                <a:solidFill>
                  <a:srgbClr val="FFFFFF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" name="Google Shape;64;p25"/>
          <p:cNvSpPr txBox="1">
            <a:spLocks noGrp="1"/>
          </p:cNvSpPr>
          <p:nvPr>
            <p:ph type="title"/>
          </p:nvPr>
        </p:nvSpPr>
        <p:spPr>
          <a:xfrm>
            <a:off x="914400" y="843985"/>
            <a:ext cx="48763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5"/>
          <p:cNvSpPr txBox="1">
            <a:spLocks noGrp="1"/>
          </p:cNvSpPr>
          <p:nvPr>
            <p:ph type="body" idx="3"/>
          </p:nvPr>
        </p:nvSpPr>
        <p:spPr>
          <a:xfrm rot="-5400000">
            <a:off x="104940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ed/Gray Title Only">
  <p:cSld name="Red/Gray Title Only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26"/>
          <p:cNvSpPr>
            <a:spLocks noGrp="1"/>
          </p:cNvSpPr>
          <p:nvPr>
            <p:ph type="pic" idx="2"/>
          </p:nvPr>
        </p:nvSpPr>
        <p:spPr>
          <a:xfrm>
            <a:off x="203200" y="152400"/>
            <a:ext cx="5892800" cy="655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rgbClr val="6C6463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68" name="Google Shape;68;p26"/>
          <p:cNvSpPr txBox="1">
            <a:spLocks noGrp="1"/>
          </p:cNvSpPr>
          <p:nvPr>
            <p:ph type="dt" idx="10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2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lvl="1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lvl="2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lvl="3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lvl="4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lvl="5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lvl="6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lvl="7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lvl="8" indent="0" algn="r">
              <a:spcBef>
                <a:spcPts val="0"/>
              </a:spcBef>
              <a:buNone/>
              <a:defRPr sz="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0" name="Google Shape;70;p26"/>
          <p:cNvSpPr txBox="1">
            <a:spLocks noGrp="1"/>
          </p:cNvSpPr>
          <p:nvPr>
            <p:ph type="body" idx="1"/>
          </p:nvPr>
        </p:nvSpPr>
        <p:spPr>
          <a:xfrm rot="-5400000">
            <a:off x="4601289" y="1431666"/>
            <a:ext cx="27432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"/>
              <a:buNone/>
              <a:defRPr sz="6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marL="1371600" lvl="2" indent="-228600" algn="l"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3pPr>
            <a:lvl4pPr marL="1828800" lvl="3" indent="-228600" algn="l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solidFill>
                  <a:schemeClr val="lt1"/>
                </a:solidFill>
              </a:defRPr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6"/>
          <p:cNvSpPr txBox="1">
            <a:spLocks noGrp="1"/>
          </p:cNvSpPr>
          <p:nvPr>
            <p:ph type="title"/>
          </p:nvPr>
        </p:nvSpPr>
        <p:spPr>
          <a:xfrm>
            <a:off x="6502805" y="2971801"/>
            <a:ext cx="5181195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>
                <a:solidFill>
                  <a:srgbClr val="BA0C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oogle Shape;10;p9"/>
          <p:cNvGraphicFramePr/>
          <p:nvPr/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r:id="rId33" imgW="2117" imgH="1588" progId="TCLayout.ActiveDocument.1">
                  <p:embed/>
                </p:oleObj>
              </mc:Choice>
              <mc:Fallback>
                <p:oleObj r:id="rId33" imgW="2117" imgH="1588" progId="TCLayout.ActiveDocument.1">
                  <p:embed/>
                  <p:pic>
                    <p:nvPicPr>
                      <p:cNvPr id="10" name="Google Shape;10;p9"/>
                      <p:cNvPicPr preferRelativeResize="0"/>
                      <p:nvPr/>
                    </p:nvPicPr>
                    <p:blipFill rotWithShape="1">
                      <a:blip r:embed="rId34">
                        <a:alphaModFix/>
                      </a:blip>
                      <a:srcRect/>
                      <a:stretch/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9"/>
          <p:cNvSpPr txBox="1"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 sz="2800" b="0" i="0" u="none" strike="noStrike" cap="none">
                <a:solidFill>
                  <a:srgbClr val="BA0C2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9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55600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42900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30200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3" name="Google Shape;13;p9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4" name="Google Shape;14;p9"/>
          <p:cNvSpPr txBox="1">
            <a:spLocks noGrp="1"/>
          </p:cNvSpPr>
          <p:nvPr>
            <p:ph type="ftr" idx="11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5" name="Google Shape;15;p9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marR="0" lvl="0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" name="Google Shape;16;p9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" name="Google Shape;205;p11"/>
          <p:cNvGraphicFramePr/>
          <p:nvPr/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r:id="rId8" imgW="2117" imgH="1588" progId="TCLayout.ActiveDocument.1">
                  <p:embed/>
                </p:oleObj>
              </mc:Choice>
              <mc:Fallback>
                <p:oleObj r:id="rId8" imgW="2117" imgH="1588" progId="TCLayout.ActiveDocument.1">
                  <p:embed/>
                  <p:pic>
                    <p:nvPicPr>
                      <p:cNvPr id="205" name="Google Shape;205;p11"/>
                      <p:cNvPicPr preferRelativeResize="0"/>
                      <p:nvPr/>
                    </p:nvPicPr>
                    <p:blipFill rotWithShape="1">
                      <a:blip r:embed="rId9">
                        <a:alphaModFix/>
                      </a:blip>
                      <a:srcRect/>
                      <a:stretch/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" name="Google Shape;206;p11"/>
          <p:cNvSpPr txBox="1"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 sz="2800" b="0" i="0" u="none" strike="noStrike" cap="none">
                <a:solidFill>
                  <a:srgbClr val="BA0C2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7" name="Google Shape;207;p11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55600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42900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30200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08" name="Google Shape;208;p11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09" name="Google Shape;209;p11"/>
          <p:cNvSpPr txBox="1">
            <a:spLocks noGrp="1"/>
          </p:cNvSpPr>
          <p:nvPr>
            <p:ph type="ftr" idx="11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10" name="Google Shape;210;p11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marR="0" lvl="0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1" name="Google Shape;211;p11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13"/>
          <p:cNvSpPr txBox="1"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  <a:defRPr sz="2800" b="0" i="0" u="none" strike="noStrike" cap="none">
                <a:solidFill>
                  <a:srgbClr val="BA0C2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43" name="Google Shape;243;p13"/>
          <p:cNvSpPr txBox="1"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55600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42900" algn="l" rtl="0">
              <a:spcBef>
                <a:spcPts val="1200"/>
              </a:spcBef>
              <a:spcAft>
                <a:spcPts val="0"/>
              </a:spcAft>
              <a:buClr>
                <a:srgbClr val="6C6463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330200" algn="l" rtl="0">
              <a:spcBef>
                <a:spcPts val="32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rgbClr val="6C6463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44" name="Google Shape;244;p13"/>
          <p:cNvSpPr txBox="1">
            <a:spLocks noGrp="1"/>
          </p:cNvSpPr>
          <p:nvPr>
            <p:ph type="dt" idx="10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45" name="Google Shape;245;p13"/>
          <p:cNvSpPr txBox="1">
            <a:spLocks noGrp="1"/>
          </p:cNvSpPr>
          <p:nvPr>
            <p:ph type="ftr" idx="11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246" name="Google Shape;246;p13"/>
          <p:cNvSpPr txBox="1">
            <a:spLocks noGrp="1"/>
          </p:cNvSpPr>
          <p:nvPr>
            <p:ph type="sldNum" idx="12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0" marR="0" lvl="0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spcBef>
                <a:spcPts val="0"/>
              </a:spcBef>
              <a:buNone/>
              <a:defRPr sz="600" b="0" i="0" u="none" strike="noStrike" cap="none">
                <a:solidFill>
                  <a:srgbClr val="635C5B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7" name="Google Shape;247;p13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png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5" name="Google Shape;455;p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455" name="Google Shape;455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6" name="Google Shape;456;p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r:id="rId6" imgW="1588" imgH="1588" progId="TCLayout.ActiveDocument.1">
                  <p:embed/>
                </p:oleObj>
              </mc:Choice>
              <mc:Fallback>
                <p:oleObj r:id="rId6" imgW="1588" imgH="1588" progId="TCLayout.ActiveDocument.1">
                  <p:embed/>
                  <p:pic>
                    <p:nvPicPr>
                      <p:cNvPr id="456" name="Google Shape;456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7" name="Google Shape;457;p1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  <p:sp>
        <p:nvSpPr>
          <p:cNvPr id="458" name="Google Shape;458;p1"/>
          <p:cNvSpPr txBox="1">
            <a:spLocks noGrp="1"/>
          </p:cNvSpPr>
          <p:nvPr>
            <p:ph type="subTitle" idx="1"/>
          </p:nvPr>
        </p:nvSpPr>
        <p:spPr>
          <a:xfrm>
            <a:off x="914400" y="4114800"/>
            <a:ext cx="4572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</a:pPr>
            <a:endParaRPr/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</a:pPr>
            <a:r>
              <a:rPr lang="en-US">
                <a:solidFill>
                  <a:schemeClr val="lt2"/>
                </a:solidFill>
              </a:rPr>
              <a:t>July 16, 2019</a:t>
            </a:r>
            <a:endParaRPr>
              <a:solidFill>
                <a:schemeClr val="lt2"/>
              </a:solidFill>
            </a:endParaRPr>
          </a:p>
        </p:txBody>
      </p:sp>
      <p:sp>
        <p:nvSpPr>
          <p:cNvPr id="459" name="Google Shape;459;p1"/>
          <p:cNvSpPr txBox="1">
            <a:spLocks noGrp="1"/>
          </p:cNvSpPr>
          <p:nvPr>
            <p:ph type="ctrTitle"/>
          </p:nvPr>
        </p:nvSpPr>
        <p:spPr>
          <a:xfrm>
            <a:off x="914400" y="2133600"/>
            <a:ext cx="73152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200"/>
              <a:buFont typeface="Gill Sans"/>
              <a:buNone/>
            </a:pPr>
            <a:r>
              <a:rPr lang="en-US">
                <a:solidFill>
                  <a:schemeClr val="lt2"/>
                </a:solidFill>
              </a:rPr>
              <a:t>Policy objectives &amp; market readiness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grpSp>
        <p:nvGrpSpPr>
          <p:cNvPr id="466" name="Google Shape;466;p2" descr="Arrows showing feedback loops in the auction process from the evaluation stage to the target definition, procurement design, and implementation stages."/>
          <p:cNvGrpSpPr/>
          <p:nvPr/>
        </p:nvGrpSpPr>
        <p:grpSpPr>
          <a:xfrm>
            <a:off x="2560518" y="2242060"/>
            <a:ext cx="7140903" cy="12700"/>
            <a:chOff x="2560518" y="2242060"/>
            <a:chExt cx="7140903" cy="12700"/>
          </a:xfrm>
        </p:grpSpPr>
        <p:cxnSp>
          <p:nvCxnSpPr>
            <p:cNvPr id="467" name="Google Shape;467;p2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6077349" y="2242060"/>
              <a:ext cx="3607305" cy="12700"/>
            </a:xfrm>
            <a:prstGeom prst="bentConnector5">
              <a:avLst>
                <a:gd name="adj1" fmla="val -528"/>
                <a:gd name="adj2" fmla="val -2676732"/>
                <a:gd name="adj3" fmla="val 99595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468" name="Google Shape;468;p2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2560518" y="2242060"/>
              <a:ext cx="7140903" cy="12700"/>
            </a:xfrm>
            <a:prstGeom prst="bentConnector5">
              <a:avLst>
                <a:gd name="adj1" fmla="val 0"/>
                <a:gd name="adj2" fmla="val -3704457"/>
                <a:gd name="adj3" fmla="val 100113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469" name="Google Shape;469;p2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7890528" y="2242060"/>
              <a:ext cx="1803651" cy="12700"/>
            </a:xfrm>
            <a:prstGeom prst="bentConnector5">
              <a:avLst>
                <a:gd name="adj1" fmla="val 0"/>
                <a:gd name="adj2" fmla="val -1591583"/>
                <a:gd name="adj3" fmla="val 99810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</p:grpSp>
      <p:sp>
        <p:nvSpPr>
          <p:cNvPr id="470" name="Google Shape;470;p2"/>
          <p:cNvSpPr txBox="1"/>
          <p:nvPr/>
        </p:nvSpPr>
        <p:spPr>
          <a:xfrm>
            <a:off x="8728200" y="3048001"/>
            <a:ext cx="2016000" cy="9079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Lessons learned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Adjustment of procurement design</a:t>
            </a:r>
            <a:endParaRPr/>
          </a:p>
        </p:txBody>
      </p:sp>
      <p:sp>
        <p:nvSpPr>
          <p:cNvPr id="471" name="Google Shape;471;p2"/>
          <p:cNvSpPr/>
          <p:nvPr/>
        </p:nvSpPr>
        <p:spPr>
          <a:xfrm>
            <a:off x="8675003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362074" h="496296" extrusionOk="0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Evaluation</a:t>
            </a:r>
            <a:endParaRPr/>
          </a:p>
        </p:txBody>
      </p:sp>
      <p:sp>
        <p:nvSpPr>
          <p:cNvPr id="472" name="Google Shape;472;p2"/>
          <p:cNvSpPr txBox="1"/>
          <p:nvPr/>
        </p:nvSpPr>
        <p:spPr>
          <a:xfrm>
            <a:off x="6934201" y="3048000"/>
            <a:ext cx="1965033" cy="32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Drafting of required document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building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curement conduction</a:t>
            </a:r>
            <a:endParaRPr/>
          </a:p>
          <a:p>
            <a:pPr marL="285750" marR="0" lvl="1" indent="-285750" algn="l" rtl="0">
              <a:spcBef>
                <a:spcPts val="60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fQ</a:t>
            </a:r>
            <a:endParaRPr sz="1600" b="0" i="0" u="none" strike="noStrike" cap="none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  <a:p>
            <a:pPr marL="285750" marR="0" lvl="1" indent="-285750" algn="l" rtl="0">
              <a:spcBef>
                <a:spcPts val="60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fP and awarding of bid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Contracting 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onitoring of realization</a:t>
            </a:r>
            <a:endParaRPr/>
          </a:p>
        </p:txBody>
      </p:sp>
      <p:sp>
        <p:nvSpPr>
          <p:cNvPr id="473" name="Google Shape;473;p2"/>
          <p:cNvSpPr/>
          <p:nvPr/>
        </p:nvSpPr>
        <p:spPr>
          <a:xfrm>
            <a:off x="6871351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745443" h="496296" extrusionOk="0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Imple-mentation</a:t>
            </a:r>
            <a:endParaRPr/>
          </a:p>
        </p:txBody>
      </p:sp>
      <p:sp>
        <p:nvSpPr>
          <p:cNvPr id="474" name="Google Shape;474;p2"/>
          <p:cNvSpPr/>
          <p:nvPr/>
        </p:nvSpPr>
        <p:spPr>
          <a:xfrm>
            <a:off x="5079582" y="3048000"/>
            <a:ext cx="2004115" cy="2939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Institutional set-up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What is auctioned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curement procedure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Conditions for participation</a:t>
            </a:r>
            <a:endParaRPr sz="1600" b="0" i="0" u="none" strike="noStrike" cap="none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Enforcement of obligation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ights for awarded projects</a:t>
            </a:r>
            <a:endParaRPr/>
          </a:p>
        </p:txBody>
      </p:sp>
      <p:sp>
        <p:nvSpPr>
          <p:cNvPr id="475" name="Google Shape;475;p2"/>
          <p:cNvSpPr/>
          <p:nvPr/>
        </p:nvSpPr>
        <p:spPr>
          <a:xfrm>
            <a:off x="5067698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362074" h="496296" extrusionOk="0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Procurement design</a:t>
            </a:r>
            <a:endParaRPr/>
          </a:p>
        </p:txBody>
      </p:sp>
      <p:sp>
        <p:nvSpPr>
          <p:cNvPr id="476" name="Google Shape;476;p2"/>
          <p:cNvSpPr txBox="1"/>
          <p:nvPr/>
        </p:nvSpPr>
        <p:spPr>
          <a:xfrm>
            <a:off x="3264045" y="3048001"/>
            <a:ext cx="2016001" cy="2693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size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e-developed project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player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Technology cost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ject development &amp; operation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Existing regulations &amp; incentives </a:t>
            </a:r>
            <a:endParaRPr/>
          </a:p>
        </p:txBody>
      </p:sp>
      <p:sp>
        <p:nvSpPr>
          <p:cNvPr id="477" name="Google Shape;477;p2"/>
          <p:cNvSpPr/>
          <p:nvPr/>
        </p:nvSpPr>
        <p:spPr>
          <a:xfrm>
            <a:off x="3264045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420929" h="496296" extrusionOk="0">
                <a:moveTo>
                  <a:pt x="0" y="0"/>
                </a:moveTo>
                <a:lnTo>
                  <a:pt x="1172781" y="0"/>
                </a:lnTo>
                <a:lnTo>
                  <a:pt x="1420929" y="248148"/>
                </a:lnTo>
                <a:lnTo>
                  <a:pt x="1172781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Market &amp; regulatory analysis</a:t>
            </a:r>
            <a:endParaRPr/>
          </a:p>
        </p:txBody>
      </p:sp>
      <p:sp>
        <p:nvSpPr>
          <p:cNvPr id="478" name="Google Shape;478;p2"/>
          <p:cNvSpPr txBox="1"/>
          <p:nvPr/>
        </p:nvSpPr>
        <p:spPr>
          <a:xfrm>
            <a:off x="1537264" y="3048000"/>
            <a:ext cx="181553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olicy goals </a:t>
            </a:r>
            <a:endParaRPr/>
          </a:p>
        </p:txBody>
      </p:sp>
      <p:sp>
        <p:nvSpPr>
          <p:cNvPr id="479" name="Google Shape;479;p2"/>
          <p:cNvSpPr/>
          <p:nvPr/>
        </p:nvSpPr>
        <p:spPr>
          <a:xfrm>
            <a:off x="1460392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704050" h="496296" extrusionOk="0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Target definition</a:t>
            </a:r>
            <a:endParaRPr/>
          </a:p>
        </p:txBody>
      </p:sp>
      <p:sp>
        <p:nvSpPr>
          <p:cNvPr id="480" name="Google Shape;480;p2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Performing auctions without adequate planning will not achieve low prices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Google Shape;485;p3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sp>
        <p:nvSpPr>
          <p:cNvPr id="486" name="Google Shape;486;p3"/>
          <p:cNvSpPr txBox="1"/>
          <p:nvPr/>
        </p:nvSpPr>
        <p:spPr>
          <a:xfrm>
            <a:off x="1665514" y="6642556"/>
            <a:ext cx="641168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rPr>
              <a:t>© Navigant – A Guidehouse Company. All rights reserved</a:t>
            </a:r>
            <a:endParaRPr sz="800" b="0" i="0" u="none" strike="noStrike" cap="none">
              <a:solidFill>
                <a:srgbClr val="66666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87" name="Google Shape;487;p3"/>
          <p:cNvSpPr txBox="1">
            <a:spLocks noGrp="1"/>
          </p:cNvSpPr>
          <p:nvPr>
            <p:ph type="body" idx="1"/>
          </p:nvPr>
        </p:nvSpPr>
        <p:spPr>
          <a:xfrm>
            <a:off x="914400" y="2680426"/>
            <a:ext cx="10363200" cy="396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30188" lvl="0" indent="-23018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1850"/>
              <a:buChar char="•"/>
            </a:pPr>
            <a:r>
              <a:rPr lang="en-US" sz="1850" dirty="0"/>
              <a:t>Main goals: 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Allocating available funding efficiently and 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Achieving RE generation targets through timely project realization </a:t>
            </a:r>
            <a:endParaRPr dirty="0"/>
          </a:p>
          <a:p>
            <a:pPr marL="230188" lvl="0" indent="-230188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•"/>
            </a:pPr>
            <a:r>
              <a:rPr lang="en-US" sz="1850" dirty="0"/>
              <a:t>Other policy goals include e.g.: 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Grid and system integration of awarded projects 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Local value creation</a:t>
            </a:r>
            <a:endParaRPr dirty="0"/>
          </a:p>
          <a:p>
            <a:pPr marL="230188" lvl="0" indent="-230188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•"/>
            </a:pPr>
            <a:r>
              <a:rPr lang="en-US" sz="1850" dirty="0"/>
              <a:t>Recognize trade-offs between policy objectives and agree on prioritization to be reflected in procurement design, e.g.: 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Financial guarantees help ensure seriousness of bids and increase project realization, but</a:t>
            </a:r>
            <a:endParaRPr dirty="0"/>
          </a:p>
          <a:p>
            <a:pPr marL="684213" lvl="1" indent="-230187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Char char="–"/>
            </a:pPr>
            <a:r>
              <a:rPr lang="en-US" sz="1850" dirty="0"/>
              <a:t>could increase financing costs and lead to higher bid prices. </a:t>
            </a:r>
            <a:endParaRPr dirty="0"/>
          </a:p>
          <a:p>
            <a:pPr marL="684213" lvl="1" indent="-112712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None/>
            </a:pPr>
            <a:endParaRPr sz="1850" dirty="0"/>
          </a:p>
          <a:p>
            <a:pPr marL="684213" lvl="1" indent="-112712" algn="l" rtl="0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1850"/>
              <a:buNone/>
            </a:pPr>
            <a:endParaRPr sz="1850" dirty="0"/>
          </a:p>
        </p:txBody>
      </p:sp>
      <p:sp>
        <p:nvSpPr>
          <p:cNvPr id="488" name="Google Shape;488;p3"/>
          <p:cNvSpPr/>
          <p:nvPr/>
        </p:nvSpPr>
        <p:spPr>
          <a:xfrm>
            <a:off x="1066800" y="1600563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704050" h="496296" extrusionOk="0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Target definition</a:t>
            </a:r>
            <a:endParaRPr/>
          </a:p>
        </p:txBody>
      </p:sp>
      <p:sp>
        <p:nvSpPr>
          <p:cNvPr id="489" name="Google Shape;489;p3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RE targets and policy objectives need to be discussed and clarified early in the process</a:t>
            </a:r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73FC53-47C4-452D-BE56-0477A3091D9A}"/>
              </a:ext>
            </a:extLst>
          </p:cNvPr>
          <p:cNvSpPr/>
          <p:nvPr/>
        </p:nvSpPr>
        <p:spPr>
          <a:xfrm>
            <a:off x="1665514" y="6725920"/>
            <a:ext cx="3140166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Google Shape;495;p4"/>
          <p:cNvSpPr/>
          <p:nvPr/>
        </p:nvSpPr>
        <p:spPr>
          <a:xfrm>
            <a:off x="941984" y="1684933"/>
            <a:ext cx="2625600" cy="850900"/>
          </a:xfrm>
          <a:custGeom>
            <a:avLst/>
            <a:gdLst/>
            <a:ahLst/>
            <a:cxnLst/>
            <a:rect l="l" t="t" r="r" b="b"/>
            <a:pathLst>
              <a:path w="1704050" h="496296" extrusionOk="0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Target definition: System integration</a:t>
            </a:r>
            <a:endParaRPr/>
          </a:p>
        </p:txBody>
      </p:sp>
      <p:sp>
        <p:nvSpPr>
          <p:cNvPr id="496" name="Google Shape;496;p4"/>
          <p:cNvSpPr txBox="1"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800"/>
              <a:buFont typeface="Gill Sans"/>
              <a:buNone/>
            </a:pPr>
            <a:r>
              <a:rPr lang="en-US">
                <a:solidFill>
                  <a:schemeClr val="lt2"/>
                </a:solidFill>
              </a:rPr>
              <a:t>Example 1 other policy goals: system integration costs and generation costs are different</a:t>
            </a:r>
            <a:endParaRPr>
              <a:solidFill>
                <a:schemeClr val="lt2"/>
              </a:solidFill>
            </a:endParaRPr>
          </a:p>
        </p:txBody>
      </p:sp>
      <p:sp>
        <p:nvSpPr>
          <p:cNvPr id="497" name="Google Shape;497;p4"/>
          <p:cNvSpPr txBox="1"/>
          <p:nvPr/>
        </p:nvSpPr>
        <p:spPr>
          <a:xfrm>
            <a:off x="1665514" y="6642556"/>
            <a:ext cx="641168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rPr>
              <a:t>© Navigant – A Guidehouse Company. All rights reserved</a:t>
            </a:r>
            <a:endParaRPr sz="800" b="0" i="0" u="none" strike="noStrike" cap="none">
              <a:solidFill>
                <a:srgbClr val="66666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498" name="Google Shape;498;p4"/>
          <p:cNvGraphicFramePr/>
          <p:nvPr/>
        </p:nvGraphicFramePr>
        <p:xfrm>
          <a:off x="1371600" y="3374605"/>
          <a:ext cx="9677400" cy="2595950"/>
        </p:xfrm>
        <a:graphic>
          <a:graphicData uri="http://schemas.openxmlformats.org/drawingml/2006/table">
            <a:tbl>
              <a:tblPr firstRow="1" bandRow="1">
                <a:noFill/>
                <a:tableStyleId>{490BCF55-C31A-4A19-91E7-3B530979E026}</a:tableStyleId>
              </a:tblPr>
              <a:tblGrid>
                <a:gridCol w="907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70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+</a:t>
                      </a:r>
                      <a:endParaRPr sz="2000" u="none" strike="noStrike" cap="none">
                        <a:solidFill>
                          <a:srgbClr val="635C5B"/>
                        </a:solidFill>
                        <a:latin typeface="Gill Sans"/>
                        <a:ea typeface="Gill Sans"/>
                        <a:cs typeface="Gill Sans"/>
                        <a:sym typeface="Gill Sans"/>
                      </a:endParaRPr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Investment and operational costs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+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Cost of capital (debt, equity)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=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Electricity production costs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+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Grid expansion costs related to RE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+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Costs of control and balancing energy related to RE, including redispatch costs 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+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Transaction costs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=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82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1" u="none" strike="noStrike" cap="none">
                          <a:solidFill>
                            <a:srgbClr val="635C5B"/>
                          </a:solidFill>
                          <a:latin typeface="Gill Sans"/>
                          <a:ea typeface="Gill Sans"/>
                          <a:cs typeface="Gill Sans"/>
                          <a:sym typeface="Gill Sans"/>
                        </a:rPr>
                        <a:t>System costs of RE generation</a:t>
                      </a:r>
                      <a:endParaRPr/>
                    </a:p>
                  </a:txBody>
                  <a:tcPr marL="99350" marR="99350" marT="35825" marB="35825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7060778-8790-4626-BFE5-C535535DA1FA}"/>
              </a:ext>
            </a:extLst>
          </p:cNvPr>
          <p:cNvSpPr/>
          <p:nvPr/>
        </p:nvSpPr>
        <p:spPr>
          <a:xfrm>
            <a:off x="1665514" y="6725920"/>
            <a:ext cx="3140166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p5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504" name="Google Shape;504;p5"/>
          <p:cNvSpPr txBox="1"/>
          <p:nvPr/>
        </p:nvSpPr>
        <p:spPr>
          <a:xfrm>
            <a:off x="1665514" y="6642556"/>
            <a:ext cx="641168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rPr>
              <a:t>© Navigant – A Guidehouse Company. All rights reserved</a:t>
            </a:r>
            <a:endParaRPr sz="800" b="0" i="0" u="none" strike="noStrike" cap="none">
              <a:solidFill>
                <a:srgbClr val="66666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5" name="Google Shape;505;p5"/>
          <p:cNvSpPr txBox="1">
            <a:spLocks noGrp="1"/>
          </p:cNvSpPr>
          <p:nvPr>
            <p:ph type="body" idx="1"/>
          </p:nvPr>
        </p:nvSpPr>
        <p:spPr>
          <a:xfrm>
            <a:off x="914400" y="2679700"/>
            <a:ext cx="10363200" cy="3962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30188" lvl="0" indent="-230188" algn="l" rtl="0"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Assessing the level of market readiness is important when designing competitive procurement, and should consider at least:</a:t>
            </a:r>
            <a:endParaRPr/>
          </a:p>
          <a:p>
            <a:pPr marL="230188" lvl="0" indent="-230188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Market size helps determine the expected level of competition in the competitive procurement and should inform the tendered volume.</a:t>
            </a:r>
            <a:endParaRPr/>
          </a:p>
          <a:p>
            <a:pPr marL="230188" lvl="0" indent="-230188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Project development and operation phases inform procurement design, e.g. types of required permits before the auction.</a:t>
            </a:r>
            <a:endParaRPr/>
          </a:p>
          <a:p>
            <a:pPr marL="684213" lvl="1" indent="-230187" algn="l" rtl="0"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Char char="–"/>
            </a:pPr>
            <a:r>
              <a:rPr lang="en-US"/>
              <a:t>Options to increase market readiness for RE procurement: </a:t>
            </a:r>
            <a:endParaRPr/>
          </a:p>
          <a:p>
            <a:pPr marL="914400" lvl="2" indent="-230187" algn="l" rtl="0">
              <a:spcBef>
                <a:spcPts val="15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</a:pPr>
            <a:r>
              <a:rPr lang="en-US"/>
              <a:t>Project site pre-development by the government </a:t>
            </a:r>
            <a:endParaRPr/>
          </a:p>
          <a:p>
            <a:pPr marL="914400" lvl="2" indent="-230187" algn="l" rtl="0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</a:pPr>
            <a:r>
              <a:rPr lang="en-US"/>
              <a:t>Use of syndicated loans, guarantees, and PPPs </a:t>
            </a:r>
            <a:endParaRPr/>
          </a:p>
          <a:p>
            <a:pPr marL="914400" lvl="2" indent="-230187" algn="l" rtl="0">
              <a:spcBef>
                <a:spcPts val="360"/>
              </a:spcBef>
              <a:spcAft>
                <a:spcPts val="0"/>
              </a:spcAft>
              <a:buClr>
                <a:srgbClr val="6C6463"/>
              </a:buClr>
              <a:buSzPts val="1800"/>
              <a:buChar char="•"/>
            </a:pPr>
            <a:r>
              <a:rPr lang="en-US"/>
              <a:t>Clear legal framework defining the rights of IPPs vis-à-vis state-owned utilities or grid operators</a:t>
            </a:r>
            <a:endParaRPr/>
          </a:p>
        </p:txBody>
      </p:sp>
      <p:sp>
        <p:nvSpPr>
          <p:cNvPr id="506" name="Google Shape;506;p5"/>
          <p:cNvSpPr/>
          <p:nvPr/>
        </p:nvSpPr>
        <p:spPr>
          <a:xfrm>
            <a:off x="2280557" y="1620790"/>
            <a:ext cx="2590800" cy="850900"/>
          </a:xfrm>
          <a:custGeom>
            <a:avLst/>
            <a:gdLst/>
            <a:ahLst/>
            <a:cxnLst/>
            <a:rect l="l" t="t" r="r" b="b"/>
            <a:pathLst>
              <a:path w="1745443" h="496296" extrusionOk="0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Market &amp; regulatory analysis</a:t>
            </a:r>
            <a:endParaRPr/>
          </a:p>
        </p:txBody>
      </p:sp>
      <p:sp>
        <p:nvSpPr>
          <p:cNvPr id="507" name="Google Shape;507;p5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Competitive procurement needs to fit local market conditions to be successful</a:t>
            </a:r>
            <a:endParaRPr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3F0168F-C946-4BC4-8EF3-9F316F0894DE}"/>
              </a:ext>
            </a:extLst>
          </p:cNvPr>
          <p:cNvSpPr/>
          <p:nvPr/>
        </p:nvSpPr>
        <p:spPr>
          <a:xfrm>
            <a:off x="1665514" y="6725920"/>
            <a:ext cx="3140166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6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513" name="Google Shape;513;p6"/>
          <p:cNvSpPr txBox="1"/>
          <p:nvPr/>
        </p:nvSpPr>
        <p:spPr>
          <a:xfrm>
            <a:off x="941793" y="2679700"/>
            <a:ext cx="8749023" cy="3501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555759"/>
                </a:solidFill>
                <a:latin typeface="Gill Sans"/>
                <a:ea typeface="Gill Sans"/>
                <a:cs typeface="Gill Sans"/>
                <a:sym typeface="Gill Sans"/>
              </a:rPr>
              <a:t>Wind onshore</a:t>
            </a:r>
            <a:endParaRPr/>
          </a:p>
          <a:p>
            <a:pPr marL="230188" marR="0" lvl="0" indent="-230188" algn="l" rtl="0">
              <a:spcBef>
                <a:spcPts val="36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555759"/>
                </a:solidFill>
                <a:latin typeface="Gill Sans"/>
                <a:ea typeface="Gill Sans"/>
                <a:cs typeface="Gill Sans"/>
                <a:sym typeface="Gill Sans"/>
              </a:rPr>
              <a:t>Project development more complex: securing sites, site assessment, environmental impact assessment, etc.</a:t>
            </a:r>
            <a:endParaRPr/>
          </a:p>
          <a:p>
            <a:pPr marL="230188" marR="0" lvl="0" indent="-230188" algn="l" rtl="0">
              <a:spcBef>
                <a:spcPts val="36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555759"/>
                </a:solidFill>
                <a:latin typeface="Gill Sans"/>
                <a:ea typeface="Gill Sans"/>
                <a:cs typeface="Gill Sans"/>
                <a:sym typeface="Gill Sans"/>
              </a:rPr>
              <a:t>Once construction starts, risk of failure is low (&lt;10%)</a:t>
            </a:r>
            <a:endParaRPr/>
          </a:p>
          <a:p>
            <a:pPr marL="230188" marR="0" lvl="0" indent="-115888" algn="l" rtl="0">
              <a:spcBef>
                <a:spcPts val="36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555759"/>
              </a:solidFill>
              <a:latin typeface="Gill Sans"/>
              <a:ea typeface="Gill Sans"/>
              <a:cs typeface="Gill Sans"/>
              <a:sym typeface="Gill Sans"/>
            </a:endParaRPr>
          </a:p>
          <a:p>
            <a:pPr marL="0" marR="0" lvl="0" indent="0" algn="l" rtl="0">
              <a:spcBef>
                <a:spcPts val="36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555759"/>
                </a:solidFill>
                <a:latin typeface="Gill Sans"/>
                <a:ea typeface="Gill Sans"/>
                <a:cs typeface="Gill Sans"/>
                <a:sym typeface="Gill Sans"/>
              </a:rPr>
              <a:t>PV ground mounted</a:t>
            </a:r>
            <a:endParaRPr/>
          </a:p>
          <a:p>
            <a:pPr marL="230188" marR="0" lvl="0" indent="-230188" algn="l" rtl="0">
              <a:spcBef>
                <a:spcPts val="360"/>
              </a:spcBef>
              <a:spcAft>
                <a:spcPts val="0"/>
              </a:spcAft>
              <a:buClr>
                <a:srgbClr val="555759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555759"/>
                </a:solidFill>
                <a:latin typeface="Gill Sans"/>
                <a:ea typeface="Gill Sans"/>
                <a:cs typeface="Gill Sans"/>
                <a:sym typeface="Gill Sans"/>
              </a:rPr>
              <a:t>Much simpler and quicker process to receive building permit and construct plant.</a:t>
            </a:r>
            <a:endParaRPr/>
          </a:p>
        </p:txBody>
      </p:sp>
      <p:sp>
        <p:nvSpPr>
          <p:cNvPr id="514" name="Google Shape;514;p6"/>
          <p:cNvSpPr/>
          <p:nvPr/>
        </p:nvSpPr>
        <p:spPr>
          <a:xfrm>
            <a:off x="2209800" y="1600200"/>
            <a:ext cx="2590800" cy="850900"/>
          </a:xfrm>
          <a:custGeom>
            <a:avLst/>
            <a:gdLst/>
            <a:ahLst/>
            <a:cxnLst/>
            <a:rect l="l" t="t" r="r" b="b"/>
            <a:pathLst>
              <a:path w="1745443" h="496296" extrusionOk="0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Market &amp; regulatory analysis</a:t>
            </a:r>
            <a:endParaRPr/>
          </a:p>
        </p:txBody>
      </p:sp>
      <p:sp>
        <p:nvSpPr>
          <p:cNvPr id="515" name="Google Shape;515;p6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Examples of project development phases in Germany for wind and solar</a:t>
            </a: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7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521" name="Google Shape;521;p7"/>
          <p:cNvSpPr txBox="1"/>
          <p:nvPr/>
        </p:nvSpPr>
        <p:spPr>
          <a:xfrm>
            <a:off x="1665514" y="6642556"/>
            <a:ext cx="641168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rPr>
              <a:t>© Navigant – A Guidehouse Company. All rights reserved</a:t>
            </a:r>
            <a:endParaRPr sz="800" b="0" i="0" u="none" strike="noStrike" cap="none">
              <a:solidFill>
                <a:srgbClr val="66666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22" name="Google Shape;522;p7" descr="Country examples: Countries have chosen different entities as auctioneer, including the &#10;Energy regulator (BNetzA in Germany), &#10;Electricity market operator (CENACE in Mexico, XM in Colombia, CCEE in Brazil) &#10;Dedicated agencies (MASEN in Morocco, DOE IPP in South Africa)."/>
          <p:cNvGrpSpPr/>
          <p:nvPr/>
        </p:nvGrpSpPr>
        <p:grpSpPr>
          <a:xfrm>
            <a:off x="1066597" y="5029200"/>
            <a:ext cx="10058805" cy="1408208"/>
            <a:chOff x="2209800" y="4974972"/>
            <a:chExt cx="7963746" cy="1408208"/>
          </a:xfrm>
        </p:grpSpPr>
        <p:sp>
          <p:nvSpPr>
            <p:cNvPr id="523" name="Google Shape;523;p7"/>
            <p:cNvSpPr/>
            <p:nvPr/>
          </p:nvSpPr>
          <p:spPr>
            <a:xfrm>
              <a:off x="2209800" y="4974972"/>
              <a:ext cx="7963746" cy="338554"/>
            </a:xfrm>
            <a:prstGeom prst="rect">
              <a:avLst/>
            </a:pr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Country examples</a:t>
              </a:r>
              <a:endParaRPr/>
            </a:p>
          </p:txBody>
        </p:sp>
        <p:sp>
          <p:nvSpPr>
            <p:cNvPr id="524" name="Google Shape;524;p7"/>
            <p:cNvSpPr/>
            <p:nvPr/>
          </p:nvSpPr>
          <p:spPr>
            <a:xfrm>
              <a:off x="2209800" y="5305962"/>
              <a:ext cx="7963746" cy="1077218"/>
            </a:xfrm>
            <a:prstGeom prst="rect">
              <a:avLst/>
            </a:prstGeom>
            <a:noFill/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285750" marR="0" lvl="0" indent="-285750" algn="l" rtl="0">
                <a:spcBef>
                  <a:spcPts val="0"/>
                </a:spcBef>
                <a:spcAft>
                  <a:spcPts val="0"/>
                </a:spcAft>
                <a:buClr>
                  <a:srgbClr val="635C5B"/>
                </a:buClr>
                <a:buSzPts val="1600"/>
                <a:buFont typeface="Arial"/>
                <a:buChar char="•"/>
              </a:pPr>
              <a:r>
                <a:rPr lang="en-US" sz="1600" b="0" i="0" u="none" strike="noStrike" cap="none">
                  <a:solidFill>
                    <a:srgbClr val="635C5B"/>
                  </a:solidFill>
                  <a:latin typeface="Arial"/>
                  <a:ea typeface="Arial"/>
                  <a:cs typeface="Arial"/>
                  <a:sym typeface="Arial"/>
                </a:rPr>
                <a:t>Countries have chosen different entities as auctioneer, including the </a:t>
              </a:r>
              <a:endParaRPr/>
            </a:p>
            <a:p>
              <a:pPr marL="742950" marR="0" lvl="1" indent="-285750" algn="l" rtl="0">
                <a:spcBef>
                  <a:spcPts val="0"/>
                </a:spcBef>
                <a:spcAft>
                  <a:spcPts val="0"/>
                </a:spcAft>
                <a:buClr>
                  <a:srgbClr val="635C5B"/>
                </a:buClr>
                <a:buSzPts val="1600"/>
                <a:buFont typeface="Courier New"/>
                <a:buChar char="­"/>
              </a:pPr>
              <a:r>
                <a:rPr lang="en-US" sz="1600" b="0" i="0" u="none" strike="noStrike" cap="none">
                  <a:solidFill>
                    <a:srgbClr val="635C5B"/>
                  </a:solidFill>
                  <a:latin typeface="Arial"/>
                  <a:ea typeface="Arial"/>
                  <a:cs typeface="Arial"/>
                  <a:sym typeface="Arial"/>
                </a:rPr>
                <a:t>Energy regulator (BNetzA in Germany), </a:t>
              </a:r>
              <a:endParaRPr/>
            </a:p>
            <a:p>
              <a:pPr marL="742950" marR="0" lvl="1" indent="-285750" algn="l" rtl="0">
                <a:spcBef>
                  <a:spcPts val="0"/>
                </a:spcBef>
                <a:spcAft>
                  <a:spcPts val="0"/>
                </a:spcAft>
                <a:buClr>
                  <a:srgbClr val="635C5B"/>
                </a:buClr>
                <a:buSzPts val="1600"/>
                <a:buFont typeface="Courier New"/>
                <a:buChar char="­"/>
              </a:pPr>
              <a:r>
                <a:rPr lang="en-US" sz="1600" b="0" i="0" u="none" strike="noStrike" cap="none">
                  <a:solidFill>
                    <a:srgbClr val="635C5B"/>
                  </a:solidFill>
                  <a:latin typeface="Arial"/>
                  <a:ea typeface="Arial"/>
                  <a:cs typeface="Arial"/>
                  <a:sym typeface="Arial"/>
                </a:rPr>
                <a:t>Electricity market operator (CENACE in Mexico, XM in Colombia, CCEE in Brazil) </a:t>
              </a:r>
              <a:endParaRPr/>
            </a:p>
            <a:p>
              <a:pPr marL="742950" marR="0" lvl="1" indent="-285750" algn="l" rtl="0">
                <a:spcBef>
                  <a:spcPts val="0"/>
                </a:spcBef>
                <a:spcAft>
                  <a:spcPts val="0"/>
                </a:spcAft>
                <a:buClr>
                  <a:srgbClr val="635C5B"/>
                </a:buClr>
                <a:buSzPts val="1600"/>
                <a:buFont typeface="Courier New"/>
                <a:buChar char="­"/>
              </a:pPr>
              <a:r>
                <a:rPr lang="en-US" sz="1600" b="0" i="0" u="none" strike="noStrike" cap="none">
                  <a:solidFill>
                    <a:srgbClr val="635C5B"/>
                  </a:solidFill>
                  <a:latin typeface="Arial"/>
                  <a:ea typeface="Arial"/>
                  <a:cs typeface="Arial"/>
                  <a:sym typeface="Arial"/>
                </a:rPr>
                <a:t>Dedicated agencies (MASEN in Morocco, DOE IPP in South Africa).</a:t>
              </a:r>
              <a:endParaRPr/>
            </a:p>
          </p:txBody>
        </p:sp>
      </p:grpSp>
      <p:sp>
        <p:nvSpPr>
          <p:cNvPr id="525" name="Google Shape;525;p7"/>
          <p:cNvSpPr txBox="1">
            <a:spLocks noGrp="1"/>
          </p:cNvSpPr>
          <p:nvPr>
            <p:ph type="body" idx="1"/>
          </p:nvPr>
        </p:nvSpPr>
        <p:spPr>
          <a:xfrm>
            <a:off x="914400" y="2667001"/>
            <a:ext cx="10363200" cy="2285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230188" lvl="0" indent="-23018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Engaging with key stakeholders (e.g. ministry of energy, grid operator, and permitting authorities) at early stages of the auction is important.</a:t>
            </a:r>
            <a:endParaRPr/>
          </a:p>
          <a:p>
            <a:pPr marL="230188" lvl="0" indent="-230188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 A point-of-contact for the auction implementation helps coordinate inter-agency work and communication with bidders. </a:t>
            </a:r>
            <a:endParaRPr/>
          </a:p>
          <a:p>
            <a:pPr marL="230188" lvl="0" indent="-230188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Char char="•"/>
            </a:pPr>
            <a:r>
              <a:rPr lang="en-US"/>
              <a:t>Selecting an auctioning authority with some independence from other state actors increases private sector trust in the process. </a:t>
            </a:r>
            <a:endParaRPr/>
          </a:p>
          <a:p>
            <a:pPr marL="230188" lvl="0" indent="-103188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635C5B"/>
              </a:buClr>
              <a:buSzPts val="2000"/>
              <a:buNone/>
            </a:pPr>
            <a:endParaRPr/>
          </a:p>
        </p:txBody>
      </p:sp>
      <p:sp>
        <p:nvSpPr>
          <p:cNvPr id="526" name="Google Shape;526;p7"/>
          <p:cNvSpPr/>
          <p:nvPr/>
        </p:nvSpPr>
        <p:spPr>
          <a:xfrm>
            <a:off x="2209800" y="1600200"/>
            <a:ext cx="2667000" cy="850900"/>
          </a:xfrm>
          <a:custGeom>
            <a:avLst/>
            <a:gdLst/>
            <a:ahLst/>
            <a:cxnLst/>
            <a:rect l="l" t="t" r="r" b="b"/>
            <a:pathLst>
              <a:path w="1745443" h="496296" extrusionOk="0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Market &amp; regulatory analysis</a:t>
            </a:r>
            <a:endParaRPr/>
          </a:p>
        </p:txBody>
      </p:sp>
      <p:sp>
        <p:nvSpPr>
          <p:cNvPr id="527" name="Google Shape;527;p7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Required institutional capabilities: consider auction type, implementation timeline, and scalability</a:t>
            </a:r>
            <a:endParaRPr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A70E3D-B41B-4499-9584-FB71C244F52D}"/>
              </a:ext>
            </a:extLst>
          </p:cNvPr>
          <p:cNvSpPr/>
          <p:nvPr/>
        </p:nvSpPr>
        <p:spPr>
          <a:xfrm>
            <a:off x="1665514" y="6725920"/>
            <a:ext cx="3140166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Google Shape;533;p8"/>
          <p:cNvSpPr txBox="1">
            <a:spLocks noGrp="1"/>
          </p:cNvSpPr>
          <p:nvPr>
            <p:ph type="sldNum" idx="12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  <p:sp>
        <p:nvSpPr>
          <p:cNvPr id="534" name="Google Shape;534;p8"/>
          <p:cNvSpPr txBox="1"/>
          <p:nvPr/>
        </p:nvSpPr>
        <p:spPr>
          <a:xfrm>
            <a:off x="1665514" y="6642556"/>
            <a:ext cx="6411686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 u="none" strike="noStrike" cap="none">
                <a:solidFill>
                  <a:srgbClr val="666666"/>
                </a:solidFill>
                <a:latin typeface="Arial"/>
                <a:ea typeface="Arial"/>
                <a:cs typeface="Arial"/>
                <a:sym typeface="Arial"/>
              </a:rPr>
              <a:t>© Navigant – A Guidehouse Company. All rights reserved</a:t>
            </a:r>
            <a:endParaRPr sz="800" b="0" i="0" u="none" strike="noStrike" cap="none">
              <a:solidFill>
                <a:srgbClr val="66666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35" name="Google Shape;535;p8" descr="Arrows showing feedback loops in the auction process from the evaluation stage to the target definition, procurement design, and implementation stages."/>
          <p:cNvGrpSpPr/>
          <p:nvPr/>
        </p:nvGrpSpPr>
        <p:grpSpPr>
          <a:xfrm>
            <a:off x="2560518" y="2242060"/>
            <a:ext cx="7140903" cy="12700"/>
            <a:chOff x="2560518" y="2242060"/>
            <a:chExt cx="7140903" cy="12700"/>
          </a:xfrm>
        </p:grpSpPr>
        <p:cxnSp>
          <p:nvCxnSpPr>
            <p:cNvPr id="536" name="Google Shape;536;p8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6077349" y="2242060"/>
              <a:ext cx="3607305" cy="12700"/>
            </a:xfrm>
            <a:prstGeom prst="bentConnector5">
              <a:avLst>
                <a:gd name="adj1" fmla="val -528"/>
                <a:gd name="adj2" fmla="val -2676732"/>
                <a:gd name="adj3" fmla="val 99595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537" name="Google Shape;537;p8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2560518" y="2242060"/>
              <a:ext cx="7140903" cy="12700"/>
            </a:xfrm>
            <a:prstGeom prst="bentConnector5">
              <a:avLst>
                <a:gd name="adj1" fmla="val 0"/>
                <a:gd name="adj2" fmla="val -3704457"/>
                <a:gd name="adj3" fmla="val 100113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538" name="Google Shape;538;p8" descr="Arrows showing feedback loops in the auction process from the evaluation stage to the target definition, procurement design, and implementation stages."/>
            <p:cNvCxnSpPr/>
            <p:nvPr/>
          </p:nvCxnSpPr>
          <p:spPr>
            <a:xfrm flipH="1">
              <a:off x="7890528" y="2242060"/>
              <a:ext cx="1803651" cy="12700"/>
            </a:xfrm>
            <a:prstGeom prst="bentConnector5">
              <a:avLst>
                <a:gd name="adj1" fmla="val 0"/>
                <a:gd name="adj2" fmla="val -1591583"/>
                <a:gd name="adj3" fmla="val 99810"/>
              </a:avLst>
            </a:prstGeom>
            <a:solidFill>
              <a:srgbClr val="555759"/>
            </a:solidFill>
            <a:ln w="12700" cap="flat" cmpd="sng">
              <a:solidFill>
                <a:srgbClr val="55575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</p:grpSp>
      <p:sp>
        <p:nvSpPr>
          <p:cNvPr id="539" name="Google Shape;539;p8"/>
          <p:cNvSpPr txBox="1"/>
          <p:nvPr/>
        </p:nvSpPr>
        <p:spPr>
          <a:xfrm>
            <a:off x="8728200" y="3048001"/>
            <a:ext cx="2016000" cy="9079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Lessons learned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Adjustment of procurement design</a:t>
            </a:r>
            <a:endParaRPr/>
          </a:p>
        </p:txBody>
      </p:sp>
      <p:sp>
        <p:nvSpPr>
          <p:cNvPr id="540" name="Google Shape;540;p8"/>
          <p:cNvSpPr/>
          <p:nvPr/>
        </p:nvSpPr>
        <p:spPr>
          <a:xfrm>
            <a:off x="8675003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362074" h="496296" extrusionOk="0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Evaluation</a:t>
            </a:r>
            <a:endParaRPr/>
          </a:p>
        </p:txBody>
      </p:sp>
      <p:sp>
        <p:nvSpPr>
          <p:cNvPr id="541" name="Google Shape;541;p8"/>
          <p:cNvSpPr txBox="1"/>
          <p:nvPr/>
        </p:nvSpPr>
        <p:spPr>
          <a:xfrm>
            <a:off x="6934201" y="3048000"/>
            <a:ext cx="1965033" cy="32624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Drafting of required document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building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curement conduction</a:t>
            </a:r>
            <a:endParaRPr/>
          </a:p>
          <a:p>
            <a:pPr marL="285750" marR="0" lvl="1" indent="-285750" algn="l" rtl="0">
              <a:spcBef>
                <a:spcPts val="60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fQ</a:t>
            </a:r>
            <a:endParaRPr sz="1600" b="0" i="0" u="none" strike="noStrike" cap="none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  <a:p>
            <a:pPr marL="285750" marR="0" lvl="1" indent="-285750" algn="l" rtl="0">
              <a:spcBef>
                <a:spcPts val="600"/>
              </a:spcBef>
              <a:spcAft>
                <a:spcPts val="0"/>
              </a:spcAft>
              <a:buClr>
                <a:srgbClr val="6C6463"/>
              </a:buClr>
              <a:buSzPts val="1600"/>
              <a:buFont typeface="Arial"/>
              <a:buChar char="•"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fP and awarding of bid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Contracting 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onitoring of realization</a:t>
            </a:r>
            <a:endParaRPr/>
          </a:p>
        </p:txBody>
      </p:sp>
      <p:sp>
        <p:nvSpPr>
          <p:cNvPr id="542" name="Google Shape;542;p8"/>
          <p:cNvSpPr/>
          <p:nvPr/>
        </p:nvSpPr>
        <p:spPr>
          <a:xfrm>
            <a:off x="6871351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745443" h="496296" extrusionOk="0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Imple-mentation</a:t>
            </a:r>
            <a:endParaRPr/>
          </a:p>
        </p:txBody>
      </p:sp>
      <p:sp>
        <p:nvSpPr>
          <p:cNvPr id="543" name="Google Shape;543;p8"/>
          <p:cNvSpPr/>
          <p:nvPr/>
        </p:nvSpPr>
        <p:spPr>
          <a:xfrm>
            <a:off x="5079582" y="3048000"/>
            <a:ext cx="2004115" cy="2939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Institutional set-up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What is auctioned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curement procedure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Conditions for participation</a:t>
            </a:r>
            <a:endParaRPr sz="1600" b="0" i="0" u="none" strike="noStrike" cap="none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Enforcement of obligation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Rights for awarded projects</a:t>
            </a:r>
            <a:endParaRPr/>
          </a:p>
        </p:txBody>
      </p:sp>
      <p:sp>
        <p:nvSpPr>
          <p:cNvPr id="544" name="Google Shape;544;p8"/>
          <p:cNvSpPr/>
          <p:nvPr/>
        </p:nvSpPr>
        <p:spPr>
          <a:xfrm>
            <a:off x="5067698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362074" h="496296" extrusionOk="0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dk2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Procurement design</a:t>
            </a:r>
            <a:endParaRPr/>
          </a:p>
        </p:txBody>
      </p:sp>
      <p:sp>
        <p:nvSpPr>
          <p:cNvPr id="545" name="Google Shape;545;p8"/>
          <p:cNvSpPr txBox="1"/>
          <p:nvPr/>
        </p:nvSpPr>
        <p:spPr>
          <a:xfrm>
            <a:off x="3264045" y="3048001"/>
            <a:ext cx="2016001" cy="2693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size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e-developed project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Market players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Technology cost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roject development &amp; operation</a:t>
            </a:r>
            <a:endParaRPr/>
          </a:p>
          <a:p>
            <a:pPr marL="0" marR="0" lvl="1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Existing regulations &amp; incentives </a:t>
            </a:r>
            <a:endParaRPr/>
          </a:p>
        </p:txBody>
      </p:sp>
      <p:sp>
        <p:nvSpPr>
          <p:cNvPr id="546" name="Google Shape;546;p8"/>
          <p:cNvSpPr/>
          <p:nvPr/>
        </p:nvSpPr>
        <p:spPr>
          <a:xfrm>
            <a:off x="3264045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420929" h="496296" extrusionOk="0">
                <a:moveTo>
                  <a:pt x="0" y="0"/>
                </a:moveTo>
                <a:lnTo>
                  <a:pt x="1172781" y="0"/>
                </a:lnTo>
                <a:lnTo>
                  <a:pt x="1420929" y="248148"/>
                </a:lnTo>
                <a:lnTo>
                  <a:pt x="1172781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Market &amp; regulatory analysis</a:t>
            </a:r>
            <a:endParaRPr/>
          </a:p>
        </p:txBody>
      </p:sp>
      <p:sp>
        <p:nvSpPr>
          <p:cNvPr id="547" name="Google Shape;547;p8"/>
          <p:cNvSpPr txBox="1"/>
          <p:nvPr/>
        </p:nvSpPr>
        <p:spPr>
          <a:xfrm>
            <a:off x="1537264" y="3048000"/>
            <a:ext cx="181553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1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rgbClr val="6C6463"/>
                </a:solidFill>
                <a:latin typeface="Gill Sans"/>
                <a:ea typeface="Gill Sans"/>
                <a:cs typeface="Gill Sans"/>
                <a:sym typeface="Gill Sans"/>
              </a:rPr>
              <a:t>Policy goals </a:t>
            </a:r>
            <a:endParaRPr/>
          </a:p>
        </p:txBody>
      </p:sp>
      <p:sp>
        <p:nvSpPr>
          <p:cNvPr id="548" name="Google Shape;548;p8"/>
          <p:cNvSpPr/>
          <p:nvPr/>
        </p:nvSpPr>
        <p:spPr>
          <a:xfrm>
            <a:off x="1460392" y="2242060"/>
            <a:ext cx="2016000" cy="850900"/>
          </a:xfrm>
          <a:custGeom>
            <a:avLst/>
            <a:gdLst/>
            <a:ahLst/>
            <a:cxnLst/>
            <a:rect l="l" t="t" r="r" b="b"/>
            <a:pathLst>
              <a:path w="1704050" h="496296" extrusionOk="0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254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20150" tIns="24000" rIns="272150" bIns="240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rPr>
              <a:t>Target definition</a:t>
            </a:r>
            <a:endParaRPr/>
          </a:p>
        </p:txBody>
      </p:sp>
      <p:sp>
        <p:nvSpPr>
          <p:cNvPr id="549" name="Google Shape;549;p8"/>
          <p:cNvSpPr txBox="1"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BA0C2F"/>
              </a:buClr>
              <a:buSzPts val="2800"/>
              <a:buFont typeface="Gill Sans"/>
              <a:buNone/>
            </a:pPr>
            <a:r>
              <a:rPr lang="en-US"/>
              <a:t>Next up: Procurement design</a:t>
            </a:r>
            <a:endParaRPr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611248-2FB1-4459-80EC-0C80822EFC13}"/>
              </a:ext>
            </a:extLst>
          </p:cNvPr>
          <p:cNvSpPr/>
          <p:nvPr/>
        </p:nvSpPr>
        <p:spPr>
          <a:xfrm>
            <a:off x="1665514" y="6725920"/>
            <a:ext cx="3140166" cy="812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2_4.3-Template_4.29.2016">
  <a:themeElements>
    <a:clrScheme name="Custom 2">
      <a:dk1>
        <a:srgbClr val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.3-Template_4.29.2016">
  <a:themeElements>
    <a:clrScheme name="Custom 2">
      <a:dk1>
        <a:srgbClr val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4.3-Template_4.29.2016">
  <a:themeElements>
    <a:clrScheme name="Custom 2">
      <a:dk1>
        <a:srgbClr val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688</Words>
  <Application>Microsoft Office PowerPoint</Application>
  <PresentationFormat>Widescreen</PresentationFormat>
  <Paragraphs>128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Courier New</vt:lpstr>
      <vt:lpstr>Calibri</vt:lpstr>
      <vt:lpstr>Palatino Linotype</vt:lpstr>
      <vt:lpstr>Gill Sans</vt:lpstr>
      <vt:lpstr>Arial</vt:lpstr>
      <vt:lpstr>2_4.3-Template_4.29.2016</vt:lpstr>
      <vt:lpstr>4.3-Template_4.29.2016</vt:lpstr>
      <vt:lpstr>1_4.3-Template_4.29.2016</vt:lpstr>
      <vt:lpstr>TCLayout.ActiveDocument.1</vt:lpstr>
      <vt:lpstr>Policy objectives &amp; market readiness</vt:lpstr>
      <vt:lpstr>Performing auctions without adequate planning will not achieve low prices</vt:lpstr>
      <vt:lpstr>RE targets and policy objectives need to be discussed and clarified early in the process</vt:lpstr>
      <vt:lpstr>Example 1 other policy goals: system integration costs and generation costs are different</vt:lpstr>
      <vt:lpstr>Competitive procurement needs to fit local market conditions to be successful</vt:lpstr>
      <vt:lpstr>Examples of project development phases in Germany for wind and solar</vt:lpstr>
      <vt:lpstr>Required institutional capabilities: consider auction type, implementation timeline, and scalability</vt:lpstr>
      <vt:lpstr>Next up: Procurement desig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icy objectives &amp; market readiness</dc:title>
  <dc:creator>Navigant--A Guidehouse Company</dc:creator>
  <cp:lastModifiedBy>Bradley, Bridget</cp:lastModifiedBy>
  <cp:revision>1</cp:revision>
  <dcterms:created xsi:type="dcterms:W3CDTF">2016-05-03T20:02:08Z</dcterms:created>
  <dcterms:modified xsi:type="dcterms:W3CDTF">2020-07-03T16:4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